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0"/>
  </p:notesMasterIdLst>
  <p:sldIdLst>
    <p:sldId id="2961" r:id="rId2"/>
    <p:sldId id="2922" r:id="rId3"/>
    <p:sldId id="3055" r:id="rId4"/>
    <p:sldId id="2962" r:id="rId5"/>
    <p:sldId id="2944" r:id="rId6"/>
    <p:sldId id="3020" r:id="rId7"/>
    <p:sldId id="2963" r:id="rId8"/>
    <p:sldId id="2943" r:id="rId9"/>
    <p:sldId id="3039" r:id="rId10"/>
    <p:sldId id="3057" r:id="rId11"/>
    <p:sldId id="2969" r:id="rId12"/>
    <p:sldId id="3000" r:id="rId13"/>
    <p:sldId id="3056" r:id="rId14"/>
    <p:sldId id="2967" r:id="rId15"/>
    <p:sldId id="2968" r:id="rId16"/>
    <p:sldId id="3058" r:id="rId17"/>
    <p:sldId id="3059" r:id="rId18"/>
    <p:sldId id="3060" r:id="rId19"/>
  </p:sldIdLst>
  <p:sldSz cx="11522075" cy="6483350"/>
  <p:notesSz cx="7023100" cy="93091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88" userDrawn="1">
          <p15:clr>
            <a:srgbClr val="A4A3A4"/>
          </p15:clr>
        </p15:guide>
        <p15:guide id="2" pos="362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אודי גלבשטיין" initials="אג" lastIdx="1" clrIdx="1">
    <p:extLst>
      <p:ext uri="{19B8F6BF-5375-455C-9EA6-DF929625EA0E}">
        <p15:presenceInfo xmlns:p15="http://schemas.microsoft.com/office/powerpoint/2012/main" userId="S-1-5-21-60493477-2146455087-3665346643-9463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EB4E3"/>
    <a:srgbClr val="FCD5B5"/>
    <a:srgbClr val="B3A2C7"/>
    <a:srgbClr val="E6E6E6"/>
    <a:srgbClr val="FFCD36"/>
    <a:srgbClr val="4472C4"/>
    <a:srgbClr val="EF792D"/>
    <a:srgbClr val="EDCAAF"/>
    <a:srgbClr val="AF0000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סגנון ביניים 2 - הדגשה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ללא סגנון, רשת טבלה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1173" autoAdjust="0"/>
  </p:normalViewPr>
  <p:slideViewPr>
    <p:cSldViewPr snapToGrid="0" snapToObjects="1" showGuides="1">
      <p:cViewPr varScale="1">
        <p:scale>
          <a:sx n="124" d="100"/>
          <a:sy n="124" d="100"/>
        </p:scale>
        <p:origin x="292" y="88"/>
      </p:cViewPr>
      <p:guideLst>
        <p:guide orient="horz" pos="1588"/>
        <p:guide pos="362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e-I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224653863331845E-2"/>
          <c:y val="4.6304541406945683E-2"/>
          <c:w val="0.95355069227333633"/>
          <c:h val="0.9073909171861086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noFill/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7F6-41B6-8B05-9C431D4B479A}"/>
              </c:ext>
            </c:extLst>
          </c:dPt>
          <c:val>
            <c:numRef>
              <c:f>Sheet1!$A$1:$C$1</c:f>
              <c:numCache>
                <c:formatCode>General</c:formatCode>
                <c:ptCount val="3"/>
                <c:pt idx="0">
                  <c:v>3165502</c:v>
                </c:pt>
                <c:pt idx="1">
                  <c:v>3165502</c:v>
                </c:pt>
                <c:pt idx="2">
                  <c:v>49900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7F6-41B6-8B05-9C431D4B479A}"/>
            </c:ext>
          </c:extLst>
        </c:ser>
        <c:ser>
          <c:idx val="1"/>
          <c:order val="1"/>
          <c:spPr>
            <a:solidFill>
              <a:schemeClr val="accent1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1">
                  <c:v>4424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7F6-41B6-8B05-9C431D4B479A}"/>
            </c:ext>
          </c:extLst>
        </c:ser>
        <c:ser>
          <c:idx val="2"/>
          <c:order val="2"/>
          <c:spPr>
            <a:solidFill>
              <a:srgbClr val="00B050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3:$C$3</c:f>
              <c:numCache>
                <c:formatCode>General</c:formatCode>
                <c:ptCount val="3"/>
                <c:pt idx="1">
                  <c:v>13820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7F6-41B6-8B05-9C431D4B47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93744480"/>
        <c:axId val="1"/>
      </c:barChart>
      <c:catAx>
        <c:axId val="993744480"/>
        <c:scaling>
          <c:orientation val="maxMin"/>
        </c:scaling>
        <c:delete val="0"/>
        <c:axPos val="r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rgbClr val="8080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axMin"/>
          <c:max val="4990047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9937444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עליונה 1"/>
          <p:cNvSpPr>
            <a:spLocks noGrp="1"/>
          </p:cNvSpPr>
          <p:nvPr>
            <p:ph type="hdr" sz="quarter"/>
          </p:nvPr>
        </p:nvSpPr>
        <p:spPr>
          <a:xfrm>
            <a:off x="3979757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1"/>
          <a:lstStyle>
            <a:lvl1pPr algn="l">
              <a:defRPr sz="1200"/>
            </a:lvl1pPr>
          </a:lstStyle>
          <a:p>
            <a:endParaRPr lang="aa-ET"/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idx="1"/>
          </p:nvPr>
        </p:nvSpPr>
        <p:spPr>
          <a:xfrm>
            <a:off x="1626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1"/>
          <a:lstStyle>
            <a:lvl1pPr algn="r">
              <a:defRPr sz="1200"/>
            </a:lvl1pPr>
          </a:lstStyle>
          <a:p>
            <a:fld id="{5E951113-94BB-4A5F-BF9E-5FD88BD204ED}" type="datetimeFigureOut">
              <a:rPr lang="aa-ET" smtClean="0"/>
              <a:t>04/12/2021</a:t>
            </a:fld>
            <a:endParaRPr lang="aa-ET"/>
          </a:p>
        </p:txBody>
      </p:sp>
      <p:sp>
        <p:nvSpPr>
          <p:cNvPr id="4" name="מציין מיקום של תמונת שקופית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1" anchor="ctr"/>
          <a:lstStyle/>
          <a:p>
            <a:endParaRPr lang="aa-ET"/>
          </a:p>
        </p:txBody>
      </p:sp>
      <p:sp>
        <p:nvSpPr>
          <p:cNvPr id="5" name="מציין מיקום של הערות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1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  <a:endParaRPr lang="aa-ET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4"/>
          </p:nvPr>
        </p:nvSpPr>
        <p:spPr>
          <a:xfrm>
            <a:off x="3979757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1" anchor="b"/>
          <a:lstStyle>
            <a:lvl1pPr algn="l">
              <a:defRPr sz="1200"/>
            </a:lvl1pPr>
          </a:lstStyle>
          <a:p>
            <a:endParaRPr lang="aa-ET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5"/>
          </p:nvPr>
        </p:nvSpPr>
        <p:spPr>
          <a:xfrm>
            <a:off x="1626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1" anchor="b"/>
          <a:lstStyle>
            <a:lvl1pPr algn="r">
              <a:defRPr sz="1200"/>
            </a:lvl1pPr>
          </a:lstStyle>
          <a:p>
            <a:fld id="{3ECCFAE5-B6BD-4B80-9024-1CABD0E41763}" type="slidenum">
              <a:rPr lang="aa-ET" smtClean="0"/>
              <a:t>‹#›</a:t>
            </a:fld>
            <a:endParaRPr lang="aa-ET"/>
          </a:p>
        </p:txBody>
      </p:sp>
    </p:spTree>
    <p:extLst>
      <p:ext uri="{BB962C8B-B14F-4D97-AF65-F5344CB8AC3E}">
        <p14:creationId xmlns:p14="http://schemas.microsoft.com/office/powerpoint/2010/main" val="41445821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4156" y="2014041"/>
            <a:ext cx="9793764" cy="138971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28311" y="3673898"/>
            <a:ext cx="8065453" cy="1656856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20C78C-A496-5841-A9C6-4B37D7BF1029}" type="datetimeFigureOut">
              <a:rPr lang="en-US" smtClean="0"/>
              <a:t>4/1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C7165-EBD9-4641-B044-35326DD5B5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47923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20C78C-A496-5841-A9C6-4B37D7BF1029}" type="datetimeFigureOut">
              <a:rPr lang="en-US" smtClean="0"/>
              <a:t>4/1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C7165-EBD9-4641-B044-35326DD5B5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49935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53504" y="259635"/>
            <a:ext cx="2592467" cy="553185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6104" y="259635"/>
            <a:ext cx="7585366" cy="553185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20C78C-A496-5841-A9C6-4B37D7BF1029}" type="datetimeFigureOut">
              <a:rPr lang="en-US" smtClean="0"/>
              <a:t>4/1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C7165-EBD9-4641-B044-35326DD5B5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7851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20C78C-A496-5841-A9C6-4B37D7BF1029}" type="datetimeFigureOut">
              <a:rPr lang="en-US" smtClean="0"/>
              <a:t>4/1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C7165-EBD9-4641-B044-35326DD5B5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48868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0164" y="4166153"/>
            <a:ext cx="9793764" cy="128766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0164" y="2747921"/>
            <a:ext cx="9793764" cy="141823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20C78C-A496-5841-A9C6-4B37D7BF1029}" type="datetimeFigureOut">
              <a:rPr lang="en-US" smtClean="0"/>
              <a:t>4/1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C7165-EBD9-4641-B044-35326DD5B5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47514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6104" y="1512782"/>
            <a:ext cx="5088916" cy="427871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57055" y="1512782"/>
            <a:ext cx="5088916" cy="427871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20C78C-A496-5841-A9C6-4B37D7BF1029}" type="datetimeFigureOut">
              <a:rPr lang="en-US" smtClean="0"/>
              <a:t>4/12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C7165-EBD9-4641-B044-35326DD5B5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890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104" y="1451250"/>
            <a:ext cx="5090917" cy="6048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6104" y="2056062"/>
            <a:ext cx="5090917" cy="37354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853055" y="1451250"/>
            <a:ext cx="5092917" cy="6048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53055" y="2056062"/>
            <a:ext cx="5092917" cy="37354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20C78C-A496-5841-A9C6-4B37D7BF1029}" type="datetimeFigureOut">
              <a:rPr lang="en-US" smtClean="0"/>
              <a:t>4/12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C7165-EBD9-4641-B044-35326DD5B5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3860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20C78C-A496-5841-A9C6-4B37D7BF1029}" type="datetimeFigureOut">
              <a:rPr lang="en-US" smtClean="0"/>
              <a:t>4/12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C7165-EBD9-4641-B044-35326DD5B5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34916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20C78C-A496-5841-A9C6-4B37D7BF1029}" type="datetimeFigureOut">
              <a:rPr lang="en-US" smtClean="0"/>
              <a:t>4/12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C7165-EBD9-4641-B044-35326DD5B5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10222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6105" y="258133"/>
            <a:ext cx="3790683" cy="109856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04811" y="258134"/>
            <a:ext cx="6441160" cy="553336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6105" y="1356701"/>
            <a:ext cx="3790683" cy="443479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20C78C-A496-5841-A9C6-4B37D7BF1029}" type="datetimeFigureOut">
              <a:rPr lang="en-US" smtClean="0"/>
              <a:t>4/12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C7165-EBD9-4641-B044-35326DD5B5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38953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8407" y="4538345"/>
            <a:ext cx="6913245" cy="535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58407" y="579299"/>
            <a:ext cx="6913245" cy="389001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58407" y="5074122"/>
            <a:ext cx="6913245" cy="76089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20C78C-A496-5841-A9C6-4B37D7BF1029}" type="datetimeFigureOut">
              <a:rPr lang="en-US" smtClean="0"/>
              <a:t>4/12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AC7165-EBD9-4641-B044-35326DD5B5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2799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6104" y="259635"/>
            <a:ext cx="10369868" cy="10805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104" y="1512782"/>
            <a:ext cx="10369868" cy="42787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104" y="6009106"/>
            <a:ext cx="2688484" cy="3451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20C78C-A496-5841-A9C6-4B37D7BF1029}" type="datetimeFigureOut">
              <a:rPr lang="en-US" smtClean="0"/>
              <a:t>4/1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36709" y="6009106"/>
            <a:ext cx="3648657" cy="3451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57487" y="6009106"/>
            <a:ext cx="2688484" cy="3451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AC7165-EBD9-4641-B044-35326DD5B5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0671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g"/><Relationship Id="rId3" Type="http://schemas.openxmlformats.org/officeDocument/2006/relationships/tags" Target="../tags/tag3.xml"/><Relationship Id="rId7" Type="http://schemas.openxmlformats.org/officeDocument/2006/relationships/image" Target="../media/image7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chart" Target="../charts/char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emf"/><Relationship Id="rId4" Type="http://schemas.openxmlformats.org/officeDocument/2006/relationships/image" Target="../media/image9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g0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521440" cy="6480048"/>
          </a:xfrm>
          <a:prstGeom prst="rect">
            <a:avLst/>
          </a:prstGeom>
        </p:spPr>
      </p:pic>
      <p:pic>
        <p:nvPicPr>
          <p:cNvPr id="5" name="Picture 4" descr="smalltri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078583" cy="1871534"/>
          </a:xfrm>
          <a:prstGeom prst="rect">
            <a:avLst/>
          </a:prstGeom>
        </p:spPr>
      </p:pic>
      <p:pic>
        <p:nvPicPr>
          <p:cNvPr id="6" name="Picture 5" descr="bigtri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7624" y="3231502"/>
            <a:ext cx="5492679" cy="3261469"/>
          </a:xfrm>
          <a:prstGeom prst="rect">
            <a:avLst/>
          </a:prstGeom>
        </p:spPr>
      </p:pic>
      <p:pic>
        <p:nvPicPr>
          <p:cNvPr id="7" name="Picture 6" descr="logo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2132" y="1328620"/>
            <a:ext cx="1310684" cy="1700841"/>
          </a:xfrm>
          <a:prstGeom prst="rect">
            <a:avLst/>
          </a:prstGeom>
        </p:spPr>
      </p:pic>
      <p:pic>
        <p:nvPicPr>
          <p:cNvPr id="8" name="Picture 7" descr="rak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8729" y="3113064"/>
            <a:ext cx="5352467" cy="1258866"/>
          </a:xfrm>
          <a:prstGeom prst="rect">
            <a:avLst/>
          </a:prstGeom>
        </p:spPr>
      </p:pic>
      <p:sp>
        <p:nvSpPr>
          <p:cNvPr id="9" name="תיבת טקסט 8">
            <a:extLst>
              <a:ext uri="{FF2B5EF4-FFF2-40B4-BE49-F238E27FC236}">
                <a16:creationId xmlns:a16="http://schemas.microsoft.com/office/drawing/2014/main" id="{73E752E7-5C5B-4760-8E44-C2F08E11D82E}"/>
              </a:ext>
            </a:extLst>
          </p:cNvPr>
          <p:cNvSpPr txBox="1"/>
          <p:nvPr/>
        </p:nvSpPr>
        <p:spPr>
          <a:xfrm>
            <a:off x="396295" y="4371930"/>
            <a:ext cx="10132585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he-IL" sz="3000" b="1" dirty="0" smtClean="0">
                <a:cs typeface="Segoe UI" panose="020B0502040204020203" pitchFamily="34" charset="0"/>
              </a:rPr>
              <a:t>ישיבת ממשלה 12.4.21</a:t>
            </a:r>
            <a:endParaRPr lang="aa-ET" sz="3000" b="1" dirty="0">
              <a:cs typeface="Segoe UI" panose="020B0502040204020203" pitchFamily="34" charset="0"/>
            </a:endParaRPr>
          </a:p>
        </p:txBody>
      </p:sp>
      <p:pic>
        <p:nvPicPr>
          <p:cNvPr id="11" name="Picture 4" descr="לוגו של משרד הבריאות | יגאל ויצמן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5512" y="0"/>
            <a:ext cx="2095928" cy="970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9532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btm.png">
            <a:extLst>
              <a:ext uri="{FF2B5EF4-FFF2-40B4-BE49-F238E27FC236}">
                <a16:creationId xmlns:a16="http://schemas.microsoft.com/office/drawing/2014/main" id="{A9B8A228-212C-4042-9C3C-48EA9C58178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247" y="5212822"/>
            <a:ext cx="10945095" cy="115484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0351CCB-D444-4AEE-B3AF-931CBF96D274}"/>
              </a:ext>
            </a:extLst>
          </p:cNvPr>
          <p:cNvSpPr txBox="1">
            <a:spLocks/>
          </p:cNvSpPr>
          <p:nvPr/>
        </p:nvSpPr>
        <p:spPr>
          <a:xfrm>
            <a:off x="10564" y="-1424"/>
            <a:ext cx="11183234" cy="911930"/>
          </a:xfrm>
          <a:prstGeom prst="rect">
            <a:avLst/>
          </a:prstGeom>
        </p:spPr>
        <p:txBody>
          <a:bodyPr vert="horz" lIns="91409" tIns="45705" rIns="91409" bIns="45705" rtlCol="0" anchor="b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endParaRPr lang="he-IL" sz="3999" b="1" baseline="30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12" name="Picture 6" descr="strip1.jpg">
            <a:extLst>
              <a:ext uri="{FF2B5EF4-FFF2-40B4-BE49-F238E27FC236}">
                <a16:creationId xmlns:a16="http://schemas.microsoft.com/office/drawing/2014/main" id="{7EC3FE62-B06E-4837-A49B-523967B7F7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4" y="0"/>
            <a:ext cx="11518195" cy="93753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30351CCB-D444-4AEE-B3AF-931CBF96D274}"/>
              </a:ext>
            </a:extLst>
          </p:cNvPr>
          <p:cNvSpPr txBox="1">
            <a:spLocks/>
          </p:cNvSpPr>
          <p:nvPr/>
        </p:nvSpPr>
        <p:spPr>
          <a:xfrm>
            <a:off x="0" y="-27029"/>
            <a:ext cx="11183234" cy="911930"/>
          </a:xfrm>
          <a:prstGeom prst="rect">
            <a:avLst/>
          </a:prstGeom>
        </p:spPr>
        <p:txBody>
          <a:bodyPr vert="horz" lIns="91409" tIns="45705" rIns="91409" bIns="45705" rtlCol="0" anchor="b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r>
              <a:rPr lang="he-IL" sz="3999" b="1" baseline="3000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תמונת מצב - נפטרים</a:t>
            </a:r>
            <a:endParaRPr lang="he-IL" sz="3999" b="1" baseline="30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046342" y="1664413"/>
            <a:ext cx="195209" cy="986320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endParaRPr lang="he-IL" dirty="0"/>
          </a:p>
        </p:txBody>
      </p:sp>
      <p:sp>
        <p:nvSpPr>
          <p:cNvPr id="5" name="TextBox 4"/>
          <p:cNvSpPr txBox="1"/>
          <p:nvPr/>
        </p:nvSpPr>
        <p:spPr>
          <a:xfrm>
            <a:off x="11342670" y="1715784"/>
            <a:ext cx="102742" cy="2152436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endParaRPr lang="he-IL" dirty="0"/>
          </a:p>
        </p:txBody>
      </p:sp>
      <p:pic>
        <p:nvPicPr>
          <p:cNvPr id="11" name="תמונה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876" y="1081605"/>
            <a:ext cx="10337536" cy="4522672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159982" y="5381897"/>
            <a:ext cx="4075611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endParaRPr lang="he-IL" dirty="0"/>
          </a:p>
        </p:txBody>
      </p:sp>
    </p:spTree>
    <p:extLst>
      <p:ext uri="{BB962C8B-B14F-4D97-AF65-F5344CB8AC3E}">
        <p14:creationId xmlns:p14="http://schemas.microsoft.com/office/powerpoint/2010/main" val="24371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btm.png">
            <a:extLst>
              <a:ext uri="{FF2B5EF4-FFF2-40B4-BE49-F238E27FC236}">
                <a16:creationId xmlns:a16="http://schemas.microsoft.com/office/drawing/2014/main" id="{A9B8A228-212C-4042-9C3C-48EA9C58178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247" y="5212822"/>
            <a:ext cx="10945095" cy="115484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0351CCB-D444-4AEE-B3AF-931CBF96D274}"/>
              </a:ext>
            </a:extLst>
          </p:cNvPr>
          <p:cNvSpPr txBox="1">
            <a:spLocks/>
          </p:cNvSpPr>
          <p:nvPr/>
        </p:nvSpPr>
        <p:spPr>
          <a:xfrm>
            <a:off x="10564" y="-1424"/>
            <a:ext cx="11183234" cy="911930"/>
          </a:xfrm>
          <a:prstGeom prst="rect">
            <a:avLst/>
          </a:prstGeom>
        </p:spPr>
        <p:txBody>
          <a:bodyPr vert="horz" lIns="91409" tIns="45705" rIns="91409" bIns="45705" rtlCol="0" anchor="b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endParaRPr lang="he-IL" sz="3999" b="1" baseline="30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12" name="Picture 6" descr="strip1.jpg">
            <a:extLst>
              <a:ext uri="{FF2B5EF4-FFF2-40B4-BE49-F238E27FC236}">
                <a16:creationId xmlns:a16="http://schemas.microsoft.com/office/drawing/2014/main" id="{7EC3FE62-B06E-4837-A49B-523967B7F7E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4" y="0"/>
            <a:ext cx="11518195" cy="93753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30351CCB-D444-4AEE-B3AF-931CBF96D274}"/>
              </a:ext>
            </a:extLst>
          </p:cNvPr>
          <p:cNvSpPr txBox="1">
            <a:spLocks/>
          </p:cNvSpPr>
          <p:nvPr/>
        </p:nvSpPr>
        <p:spPr>
          <a:xfrm>
            <a:off x="0" y="-27029"/>
            <a:ext cx="11183234" cy="911930"/>
          </a:xfrm>
          <a:prstGeom prst="rect">
            <a:avLst/>
          </a:prstGeom>
        </p:spPr>
        <p:txBody>
          <a:bodyPr vert="horz" lIns="91409" tIns="45705" rIns="91409" bIns="45705" rtlCol="0" anchor="b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r>
              <a:rPr lang="he-IL" sz="3999" b="1" baseline="3000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תמונת מצב - חיסונים</a:t>
            </a:r>
            <a:endParaRPr lang="he-IL" sz="3999" b="1" baseline="30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673231" y="4049054"/>
            <a:ext cx="5946209" cy="352327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endParaRPr lang="he-IL" dirty="0"/>
          </a:p>
        </p:txBody>
      </p:sp>
      <p:sp>
        <p:nvSpPr>
          <p:cNvPr id="3" name="TextBox 2"/>
          <p:cNvSpPr txBox="1"/>
          <p:nvPr/>
        </p:nvSpPr>
        <p:spPr>
          <a:xfrm>
            <a:off x="4544905" y="4897316"/>
            <a:ext cx="6022731" cy="1007228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endParaRPr lang="he-IL" dirty="0"/>
          </a:p>
        </p:txBody>
      </p:sp>
      <p:sp>
        <p:nvSpPr>
          <p:cNvPr id="4" name="TextBox 3"/>
          <p:cNvSpPr txBox="1"/>
          <p:nvPr/>
        </p:nvSpPr>
        <p:spPr>
          <a:xfrm>
            <a:off x="3235569" y="3693283"/>
            <a:ext cx="6606770" cy="268362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endParaRPr lang="he-IL"/>
          </a:p>
        </p:txBody>
      </p:sp>
      <p:sp>
        <p:nvSpPr>
          <p:cNvPr id="5" name="TextBox 4"/>
          <p:cNvSpPr txBox="1"/>
          <p:nvPr/>
        </p:nvSpPr>
        <p:spPr>
          <a:xfrm>
            <a:off x="3407508" y="1328615"/>
            <a:ext cx="265723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endParaRPr lang="he-IL" dirty="0"/>
          </a:p>
        </p:txBody>
      </p:sp>
      <p:graphicFrame>
        <p:nvGraphicFramePr>
          <p:cNvPr id="11" name="Chart 41">
            <a:extLst>
              <a:ext uri="{FF2B5EF4-FFF2-40B4-BE49-F238E27FC236}">
                <a16:creationId xmlns:a16="http://schemas.microsoft.com/office/drawing/2014/main" id="{6D644730-D1B2-41E6-84B9-00B9F518A24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6648960"/>
              </p:ext>
            </p:extLst>
          </p:nvPr>
        </p:nvGraphicFramePr>
        <p:xfrm>
          <a:off x="3566226" y="2080929"/>
          <a:ext cx="3857482" cy="24253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4" name="מציין מיקום טקסט 2">
            <a:extLst>
              <a:ext uri="{FF2B5EF4-FFF2-40B4-BE49-F238E27FC236}">
                <a16:creationId xmlns:a16="http://schemas.microsoft.com/office/drawing/2014/main" id="{1B91C1DA-3F1D-604C-AF68-874F3B7DBDE1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1645265" y="3182523"/>
            <a:ext cx="29908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numCol="1" spcCol="0" rtlCol="1" anchor="b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</a:p>
          <a:p>
            <a:pPr marL="0" marR="0" lvl="2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altLang="en-US" sz="1400" dirty="0">
              <a:solidFill>
                <a:prstClr val="black"/>
              </a:solidFill>
            </a:endParaRPr>
          </a:p>
          <a:p>
            <a:pPr marL="0" marR="0" lvl="2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2" indent="0" algn="ctr" defTabSz="914400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he-IL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Calibri" panose="020F0502020204030204" pitchFamily="34" charset="0"/>
              </a:rPr>
              <a:t>4,936,000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מציין מיקום טקסט 2">
            <a:extLst>
              <a:ext uri="{FF2B5EF4-FFF2-40B4-BE49-F238E27FC236}">
                <a16:creationId xmlns:a16="http://schemas.microsoft.com/office/drawing/2014/main" id="{98EA1931-A55C-4E1B-B872-FA9AEDE001CA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3109026" y="2437602"/>
            <a:ext cx="4572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he-IL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Calibri" panose="020F0502020204030204" pitchFamily="34" charset="0"/>
              </a:rPr>
              <a:t>5,317</a:t>
            </a:r>
            <a:r>
              <a:rPr kumimoji="0" lang="en-US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Calibri" panose="020F0502020204030204" pitchFamily="34" charset="0"/>
              </a:rPr>
              <a:t>,000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17" name="מציין מיקום טקסט 2">
            <a:extLst>
              <a:ext uri="{FF2B5EF4-FFF2-40B4-BE49-F238E27FC236}">
                <a16:creationId xmlns:a16="http://schemas.microsoft.com/office/drawing/2014/main" id="{8EC049DC-22CE-41AC-AC4F-0618EF3C598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107438" y="3927444"/>
            <a:ext cx="4587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he-IL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Calibri" panose="020F0502020204030204" pitchFamily="34" charset="0"/>
              </a:rPr>
              <a:t>10,254</a:t>
            </a:r>
            <a:r>
              <a:rPr kumimoji="0" lang="en-US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Calibri" panose="020F0502020204030204" pitchFamily="34" charset="0"/>
              </a:rPr>
              <a:t>,000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18" name="מציין מיקום טקסט 2">
            <a:extLst>
              <a:ext uri="{FF2B5EF4-FFF2-40B4-BE49-F238E27FC236}">
                <a16:creationId xmlns:a16="http://schemas.microsoft.com/office/drawing/2014/main" id="{F6A4FE66-BA03-44AF-BB21-B7C1992D7D9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55725" y="3196444"/>
            <a:ext cx="2494194" cy="1821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1" anchor="ctr" anchorCtr="0">
            <a:noAutofit/>
          </a:bodyPr>
          <a:lstStyle>
            <a:lvl1pPr marL="228600" indent="-228600" algn="r" defTabSz="914400" rtl="1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he-IL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מהם</a:t>
            </a:r>
            <a:r>
              <a:rPr kumimoji="0" lang="he-IL" altLang="en-US" sz="14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4,843,000 זכאי תעודת מתחסן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" name="Rectangle 2">
            <a:extLst>
              <a:ext uri="{FF2B5EF4-FFF2-40B4-BE49-F238E27FC236}">
                <a16:creationId xmlns:a16="http://schemas.microsoft.com/office/drawing/2014/main" id="{87685892-570A-0543-B81C-1502C302BE9E}"/>
              </a:ext>
            </a:extLst>
          </p:cNvPr>
          <p:cNvSpPr/>
          <p:nvPr/>
        </p:nvSpPr>
        <p:spPr>
          <a:xfrm>
            <a:off x="9305197" y="2155008"/>
            <a:ext cx="1940577" cy="2117734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מספר חיסונים שבוצעו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20">
            <a:extLst>
              <a:ext uri="{FF2B5EF4-FFF2-40B4-BE49-F238E27FC236}">
                <a16:creationId xmlns:a16="http://schemas.microsoft.com/office/drawing/2014/main" id="{42CB4463-A7CC-41E2-800E-381B17D711CA}"/>
              </a:ext>
            </a:extLst>
          </p:cNvPr>
          <p:cNvSpPr/>
          <p:nvPr/>
        </p:nvSpPr>
        <p:spPr>
          <a:xfrm>
            <a:off x="7573337" y="2155008"/>
            <a:ext cx="1565785" cy="67819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מנה ראשונה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7">
            <a:extLst>
              <a:ext uri="{FF2B5EF4-FFF2-40B4-BE49-F238E27FC236}">
                <a16:creationId xmlns:a16="http://schemas.microsoft.com/office/drawing/2014/main" id="{B4EDA9B4-98E4-42CE-B96C-DB5996DAB8BD}"/>
              </a:ext>
            </a:extLst>
          </p:cNvPr>
          <p:cNvSpPr/>
          <p:nvPr/>
        </p:nvSpPr>
        <p:spPr>
          <a:xfrm>
            <a:off x="7581560" y="3025294"/>
            <a:ext cx="1565785" cy="56455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מנה שניה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ctangle 30">
            <a:extLst>
              <a:ext uri="{FF2B5EF4-FFF2-40B4-BE49-F238E27FC236}">
                <a16:creationId xmlns:a16="http://schemas.microsoft.com/office/drawing/2014/main" id="{D4408003-1312-4E51-99BA-66F336A01722}"/>
              </a:ext>
            </a:extLst>
          </p:cNvPr>
          <p:cNvSpPr/>
          <p:nvPr/>
        </p:nvSpPr>
        <p:spPr>
          <a:xfrm>
            <a:off x="7573337" y="3748263"/>
            <a:ext cx="1565785" cy="52447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סה"כ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9051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btm.png">
            <a:extLst>
              <a:ext uri="{FF2B5EF4-FFF2-40B4-BE49-F238E27FC236}">
                <a16:creationId xmlns:a16="http://schemas.microsoft.com/office/drawing/2014/main" id="{A9B8A228-212C-4042-9C3C-48EA9C58178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247" y="5212822"/>
            <a:ext cx="10945095" cy="115484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0351CCB-D444-4AEE-B3AF-931CBF96D274}"/>
              </a:ext>
            </a:extLst>
          </p:cNvPr>
          <p:cNvSpPr txBox="1">
            <a:spLocks/>
          </p:cNvSpPr>
          <p:nvPr/>
        </p:nvSpPr>
        <p:spPr>
          <a:xfrm>
            <a:off x="10564" y="-1424"/>
            <a:ext cx="11183234" cy="911930"/>
          </a:xfrm>
          <a:prstGeom prst="rect">
            <a:avLst/>
          </a:prstGeom>
        </p:spPr>
        <p:txBody>
          <a:bodyPr vert="horz" lIns="91409" tIns="45705" rIns="91409" bIns="45705" rtlCol="0" anchor="b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endParaRPr lang="he-IL" sz="3999" b="1" baseline="30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12" name="Picture 6" descr="strip1.jpg">
            <a:extLst>
              <a:ext uri="{FF2B5EF4-FFF2-40B4-BE49-F238E27FC236}">
                <a16:creationId xmlns:a16="http://schemas.microsoft.com/office/drawing/2014/main" id="{7EC3FE62-B06E-4837-A49B-523967B7F7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4" y="0"/>
            <a:ext cx="11518195" cy="93753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30351CCB-D444-4AEE-B3AF-931CBF96D274}"/>
              </a:ext>
            </a:extLst>
          </p:cNvPr>
          <p:cNvSpPr txBox="1">
            <a:spLocks/>
          </p:cNvSpPr>
          <p:nvPr/>
        </p:nvSpPr>
        <p:spPr>
          <a:xfrm>
            <a:off x="0" y="-27029"/>
            <a:ext cx="11183234" cy="911930"/>
          </a:xfrm>
          <a:prstGeom prst="rect">
            <a:avLst/>
          </a:prstGeom>
        </p:spPr>
        <p:txBody>
          <a:bodyPr vert="horz" lIns="91409" tIns="45705" rIns="91409" bIns="45705" rtlCol="0" anchor="b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r>
              <a:rPr lang="he-IL" sz="3999" b="1" baseline="3000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חיסונים – חתך גילאים</a:t>
            </a:r>
            <a:endParaRPr lang="he-IL" sz="3999" b="1" baseline="30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graphicFrame>
        <p:nvGraphicFramePr>
          <p:cNvPr id="17" name="Table 10">
            <a:extLst>
              <a:ext uri="{FF2B5EF4-FFF2-40B4-BE49-F238E27FC236}">
                <a16:creationId xmlns:a16="http://schemas.microsoft.com/office/drawing/2014/main" id="{AF619E20-C13E-4504-9128-667563C4B9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7612826"/>
              </p:ext>
            </p:extLst>
          </p:nvPr>
        </p:nvGraphicFramePr>
        <p:xfrm>
          <a:off x="2059458" y="1333924"/>
          <a:ext cx="7923894" cy="3128850"/>
        </p:xfrm>
        <a:graphic>
          <a:graphicData uri="http://schemas.openxmlformats.org/drawingml/2006/table">
            <a:tbl>
              <a:tblPr rtl="1"/>
              <a:tblGrid>
                <a:gridCol w="1180098">
                  <a:extLst>
                    <a:ext uri="{9D8B030D-6E8A-4147-A177-3AD203B41FA5}">
                      <a16:colId xmlns:a16="http://schemas.microsoft.com/office/drawing/2014/main" val="2090373977"/>
                    </a:ext>
                  </a:extLst>
                </a:gridCol>
                <a:gridCol w="800282">
                  <a:extLst>
                    <a:ext uri="{9D8B030D-6E8A-4147-A177-3AD203B41FA5}">
                      <a16:colId xmlns:a16="http://schemas.microsoft.com/office/drawing/2014/main" val="3015401401"/>
                    </a:ext>
                  </a:extLst>
                </a:gridCol>
                <a:gridCol w="812505">
                  <a:extLst>
                    <a:ext uri="{9D8B030D-6E8A-4147-A177-3AD203B41FA5}">
                      <a16:colId xmlns:a16="http://schemas.microsoft.com/office/drawing/2014/main" val="301779070"/>
                    </a:ext>
                  </a:extLst>
                </a:gridCol>
                <a:gridCol w="865867">
                  <a:extLst>
                    <a:ext uri="{9D8B030D-6E8A-4147-A177-3AD203B41FA5}">
                      <a16:colId xmlns:a16="http://schemas.microsoft.com/office/drawing/2014/main" val="3557204393"/>
                    </a:ext>
                  </a:extLst>
                </a:gridCol>
                <a:gridCol w="1073799">
                  <a:extLst>
                    <a:ext uri="{9D8B030D-6E8A-4147-A177-3AD203B41FA5}">
                      <a16:colId xmlns:a16="http://schemas.microsoft.com/office/drawing/2014/main" val="1206313516"/>
                    </a:ext>
                  </a:extLst>
                </a:gridCol>
                <a:gridCol w="513145">
                  <a:extLst>
                    <a:ext uri="{9D8B030D-6E8A-4147-A177-3AD203B41FA5}">
                      <a16:colId xmlns:a16="http://schemas.microsoft.com/office/drawing/2014/main" val="2752947029"/>
                    </a:ext>
                  </a:extLst>
                </a:gridCol>
                <a:gridCol w="1336430">
                  <a:extLst>
                    <a:ext uri="{9D8B030D-6E8A-4147-A177-3AD203B41FA5}">
                      <a16:colId xmlns:a16="http://schemas.microsoft.com/office/drawing/2014/main" val="864507425"/>
                    </a:ext>
                  </a:extLst>
                </a:gridCol>
                <a:gridCol w="1341768">
                  <a:extLst>
                    <a:ext uri="{9D8B030D-6E8A-4147-A177-3AD203B41FA5}">
                      <a16:colId xmlns:a16="http://schemas.microsoft.com/office/drawing/2014/main" val="363532169"/>
                    </a:ext>
                  </a:extLst>
                </a:gridCol>
              </a:tblGrid>
              <a:tr h="686733">
                <a:tc>
                  <a:txBody>
                    <a:bodyPr/>
                    <a:lstStyle/>
                    <a:p>
                      <a:pPr algn="ctr" rtl="1" fontAlgn="ctr"/>
                      <a:r>
                        <a:rPr lang="he-I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Gisha" panose="020B0502040204020203" pitchFamily="34" charset="-79"/>
                          <a:cs typeface="Gisha" panose="020B0502040204020203" pitchFamily="34" charset="-79"/>
                        </a:rPr>
                        <a:t>קבוצת גיל</a:t>
                      </a:r>
                    </a:p>
                  </a:txBody>
                  <a:tcPr marL="5229" marR="5229" marT="522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he-I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Gisha" panose="020B0502040204020203" pitchFamily="34" charset="-79"/>
                          <a:cs typeface="Gisha" panose="020B0502040204020203" pitchFamily="34" charset="-79"/>
                        </a:rPr>
                        <a:t>מתחסנים (אלפים)</a:t>
                      </a:r>
                    </a:p>
                  </a:txBody>
                  <a:tcPr marL="5229" marR="5229" marT="522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he-I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Gisha" panose="020B0502040204020203" pitchFamily="34" charset="-79"/>
                          <a:cs typeface="Gisha" panose="020B0502040204020203" pitchFamily="34" charset="-79"/>
                        </a:rPr>
                        <a:t>מחלימים </a:t>
                      </a:r>
                      <a:r>
                        <a:rPr lang="he-IL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isha" panose="020B0502040204020203" pitchFamily="34" charset="-79"/>
                          <a:cs typeface="Gisha" panose="020B0502040204020203" pitchFamily="34" charset="-79"/>
                        </a:rPr>
                        <a:t>(</a:t>
                      </a:r>
                      <a:r>
                        <a:rPr lang="he-I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Gisha" panose="020B0502040204020203" pitchFamily="34" charset="-79"/>
                          <a:cs typeface="Gisha" panose="020B0502040204020203" pitchFamily="34" charset="-79"/>
                        </a:rPr>
                        <a:t>אלפים)</a:t>
                      </a:r>
                    </a:p>
                  </a:txBody>
                  <a:tcPr marL="5229" marR="5229" marT="522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he-I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Gisha" panose="020B0502040204020203" pitchFamily="34" charset="-79"/>
                          <a:cs typeface="Gisha" panose="020B0502040204020203" pitchFamily="34" charset="-79"/>
                        </a:rPr>
                        <a:t>אוכלוסייה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Gisha" panose="020B0502040204020203" pitchFamily="34" charset="-79"/>
                          <a:cs typeface="Gisha" panose="020B0502040204020203" pitchFamily="34" charset="-79"/>
                        </a:rPr>
                        <a:t> </a:t>
                      </a:r>
                      <a:r>
                        <a:rPr lang="he-I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Gisha" panose="020B0502040204020203" pitchFamily="34" charset="-79"/>
                          <a:cs typeface="Gisha" panose="020B0502040204020203" pitchFamily="34" charset="-79"/>
                        </a:rPr>
                        <a:t>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Gisha" panose="020B0502040204020203" pitchFamily="34" charset="-79"/>
                          <a:cs typeface="Gisha" panose="020B0502040204020203" pitchFamily="34" charset="-79"/>
                        </a:rPr>
                        <a:t/>
                      </a:r>
                      <a:b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Gisha" panose="020B0502040204020203" pitchFamily="34" charset="-79"/>
                          <a:cs typeface="Gisha" panose="020B0502040204020203" pitchFamily="34" charset="-79"/>
                        </a:rPr>
                      </a:br>
                      <a:r>
                        <a:rPr lang="he-IL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isha" panose="020B0502040204020203" pitchFamily="34" charset="-79"/>
                          <a:cs typeface="Gisha" panose="020B0502040204020203" pitchFamily="34" charset="-79"/>
                        </a:rPr>
                        <a:t>(</a:t>
                      </a:r>
                      <a:r>
                        <a:rPr lang="he-I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Gisha" panose="020B0502040204020203" pitchFamily="34" charset="-79"/>
                          <a:cs typeface="Gisha" panose="020B0502040204020203" pitchFamily="34" charset="-79"/>
                        </a:rPr>
                        <a:t>אלפים)</a:t>
                      </a:r>
                    </a:p>
                  </a:txBody>
                  <a:tcPr marL="5229" marR="5229" marT="522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he-I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Gisha" panose="020B0502040204020203" pitchFamily="34" charset="-79"/>
                          <a:cs typeface="Gisha" panose="020B0502040204020203" pitchFamily="34" charset="-79"/>
                        </a:rPr>
                        <a:t>אחוז מקבוצת הגיל שהתחסנו</a:t>
                      </a:r>
                      <a:endParaRPr lang="en-IL" sz="1200" b="1" i="0" u="none" strike="noStrike" dirty="0">
                        <a:solidFill>
                          <a:srgbClr val="000000"/>
                        </a:solidFill>
                        <a:effectLst/>
                        <a:latin typeface="Gisha" panose="020B0502040204020203" pitchFamily="34" charset="-79"/>
                        <a:cs typeface="Gisha" panose="020B0502040204020203" pitchFamily="34" charset="-79"/>
                      </a:endParaRPr>
                    </a:p>
                  </a:txBody>
                  <a:tcPr marL="4297" marR="4297" marT="42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1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Gisha" panose="020B0502040204020203" pitchFamily="34" charset="-79"/>
                          <a:cs typeface="Gisha" panose="020B0502040204020203" pitchFamily="34" charset="-79"/>
                        </a:rPr>
                        <a:t>%50+</a:t>
                      </a:r>
                      <a:endParaRPr lang="en-IL" sz="1200" b="1" i="0" u="none" strike="noStrike" dirty="0">
                        <a:solidFill>
                          <a:srgbClr val="000000"/>
                        </a:solidFill>
                        <a:effectLst/>
                        <a:latin typeface="Gisha" panose="020B0502040204020203" pitchFamily="34" charset="-79"/>
                        <a:cs typeface="Gisha" panose="020B0502040204020203" pitchFamily="34" charset="-79"/>
                      </a:endParaRPr>
                    </a:p>
                  </a:txBody>
                  <a:tcPr marL="4297" marR="4297" marT="42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he-I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Gisha" panose="020B0502040204020203" pitchFamily="34" charset="-79"/>
                          <a:cs typeface="Gisha" panose="020B0502040204020203" pitchFamily="34" charset="-79"/>
                        </a:rPr>
                        <a:t>אחוז מקבוצת הגיל </a:t>
                      </a:r>
                      <a:r>
                        <a:rPr lang="he-IL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isha" panose="020B0502040204020203" pitchFamily="34" charset="-79"/>
                          <a:cs typeface="Gisha" panose="020B0502040204020203" pitchFamily="34" charset="-79"/>
                        </a:rPr>
                        <a:t>שהחלימו</a:t>
                      </a:r>
                      <a:endParaRPr lang="en-IL" sz="1200" b="1" i="0" u="none" strike="noStrike" dirty="0">
                        <a:solidFill>
                          <a:srgbClr val="000000"/>
                        </a:solidFill>
                        <a:effectLst/>
                        <a:latin typeface="Gisha" panose="020B0502040204020203" pitchFamily="34" charset="-79"/>
                        <a:cs typeface="Gisha" panose="020B0502040204020203" pitchFamily="34" charset="-79"/>
                      </a:endParaRPr>
                    </a:p>
                  </a:txBody>
                  <a:tcPr marL="4297" marR="4297" marT="42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1" fontAlgn="ctr"/>
                      <a:r>
                        <a:rPr lang="he-IL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Gisha" panose="020B0502040204020203" pitchFamily="34" charset="-79"/>
                          <a:cs typeface="Gisha" panose="020B0502040204020203" pitchFamily="34" charset="-79"/>
                        </a:rPr>
                        <a:t>אוכלוסייה נותרת לחיסון (אלפים)</a:t>
                      </a:r>
                      <a:endParaRPr lang="en-IL" sz="1200" b="1" i="0" u="none" strike="noStrike" dirty="0">
                        <a:solidFill>
                          <a:srgbClr val="000000"/>
                        </a:solidFill>
                        <a:effectLst/>
                        <a:latin typeface="Gisha" panose="020B0502040204020203" pitchFamily="34" charset="-79"/>
                        <a:cs typeface="Gisha" panose="020B0502040204020203" pitchFamily="34" charset="-79"/>
                      </a:endParaRPr>
                    </a:p>
                  </a:txBody>
                  <a:tcPr marL="4297" marR="4297" marT="429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3642105"/>
                  </a:ext>
                </a:extLst>
              </a:tr>
              <a:tr h="2996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Gisha" panose="020B0502040204020203" pitchFamily="34" charset="-79"/>
                          <a:cs typeface="Gisha" panose="020B0502040204020203" pitchFamily="34" charset="-79"/>
                        </a:rPr>
                        <a:t>16-19</a:t>
                      </a:r>
                      <a:endParaRPr lang="en-IL" sz="1200" b="0" i="0" u="none" strike="noStrike" dirty="0">
                        <a:solidFill>
                          <a:srgbClr val="000000"/>
                        </a:solidFill>
                        <a:effectLst/>
                        <a:latin typeface="Gisha" panose="020B0502040204020203" pitchFamily="34" charset="-79"/>
                        <a:cs typeface="Gisha" panose="020B0502040204020203" pitchFamily="34" charset="-79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1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%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IL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35</a:t>
                      </a:r>
                      <a:endParaRPr lang="en-IL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694943"/>
                  </a:ext>
                </a:extLst>
              </a:tr>
              <a:tr h="2996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sha" panose="020B0502040204020203" pitchFamily="34" charset="-79"/>
                          <a:cs typeface="Gisha" panose="020B0502040204020203" pitchFamily="34" charset="-79"/>
                        </a:rPr>
                        <a:t>20-29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9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18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%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IL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IL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3879878"/>
                  </a:ext>
                </a:extLst>
              </a:tr>
              <a:tr h="2996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sha" panose="020B0502040204020203" pitchFamily="34" charset="-79"/>
                          <a:cs typeface="Gisha" panose="020B0502040204020203" pitchFamily="34" charset="-79"/>
                        </a:rPr>
                        <a:t>30-39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4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06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%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IL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%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IL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6280276"/>
                  </a:ext>
                </a:extLst>
              </a:tr>
              <a:tr h="2996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sha" panose="020B0502040204020203" pitchFamily="34" charset="-79"/>
                          <a:cs typeface="Gisha" panose="020B0502040204020203" pitchFamily="34" charset="-79"/>
                        </a:rPr>
                        <a:t>40-49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sha" panose="020B0502040204020203" pitchFamily="34" charset="-79"/>
                          <a:cs typeface="Gisha" panose="020B0502040204020203" pitchFamily="34" charset="-79"/>
                        </a:rPr>
                        <a:t> (-1971)</a:t>
                      </a:r>
                      <a:endParaRPr lang="en-IL" sz="1200" b="0" i="0" u="none" strike="noStrike" dirty="0">
                        <a:solidFill>
                          <a:srgbClr val="000000"/>
                        </a:solidFill>
                        <a:effectLst/>
                        <a:latin typeface="Gisha" panose="020B0502040204020203" pitchFamily="34" charset="-79"/>
                        <a:cs typeface="Gisha" panose="020B0502040204020203" pitchFamily="34" charset="-79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5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11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%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IL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IL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6340357"/>
                  </a:ext>
                </a:extLst>
              </a:tr>
              <a:tr h="34491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sha" panose="020B0502040204020203" pitchFamily="34" charset="-79"/>
                          <a:cs typeface="Gisha" panose="020B0502040204020203" pitchFamily="34" charset="-79"/>
                        </a:rPr>
                        <a:t>50-5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sha" panose="020B0502040204020203" pitchFamily="34" charset="-79"/>
                          <a:cs typeface="Gisha" panose="020B0502040204020203" pitchFamily="34" charset="-79"/>
                        </a:rPr>
                        <a:t>9 (+1971)</a:t>
                      </a:r>
                      <a:endParaRPr lang="en-IL" sz="1200" b="0" i="0" u="none" strike="noStrike" dirty="0">
                        <a:solidFill>
                          <a:srgbClr val="000000"/>
                        </a:solidFill>
                        <a:effectLst/>
                        <a:latin typeface="Gisha" panose="020B0502040204020203" pitchFamily="34" charset="-79"/>
                        <a:cs typeface="Gisha" panose="020B0502040204020203" pitchFamily="34" charset="-79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8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5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%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%</a:t>
                      </a:r>
                      <a:b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1%)</a:t>
                      </a:r>
                      <a:endParaRPr lang="en-I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  <a:endParaRPr lang="en-I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8621027"/>
                  </a:ext>
                </a:extLst>
              </a:tr>
              <a:tr h="2996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sha" panose="020B0502040204020203" pitchFamily="34" charset="-79"/>
                          <a:cs typeface="Gisha" panose="020B0502040204020203" pitchFamily="34" charset="-79"/>
                        </a:rPr>
                        <a:t>60-69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2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9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%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I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  <a:endParaRPr lang="en-IL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7871300"/>
                  </a:ext>
                </a:extLst>
              </a:tr>
              <a:tr h="2996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sha" panose="020B0502040204020203" pitchFamily="34" charset="-79"/>
                          <a:cs typeface="Gisha" panose="020B0502040204020203" pitchFamily="34" charset="-79"/>
                        </a:rPr>
                        <a:t>70-79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0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1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%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I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IL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1086086"/>
                  </a:ext>
                </a:extLst>
              </a:tr>
              <a:tr h="2996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Gisha" panose="020B0502040204020203" pitchFamily="34" charset="-79"/>
                          <a:cs typeface="Gisha" panose="020B0502040204020203" pitchFamily="34" charset="-79"/>
                        </a:rPr>
                        <a:t>80+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%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I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en-IL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10" marR="3810" marT="381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6732298"/>
                  </a:ext>
                </a:extLst>
              </a:tr>
            </a:tbl>
          </a:graphicData>
        </a:graphic>
      </p:graphicFrame>
      <p:sp>
        <p:nvSpPr>
          <p:cNvPr id="18" name="Rectangle 13">
            <a:extLst>
              <a:ext uri="{FF2B5EF4-FFF2-40B4-BE49-F238E27FC236}">
                <a16:creationId xmlns:a16="http://schemas.microsoft.com/office/drawing/2014/main" id="{37A3F2C2-E29F-4430-B3DB-560758ED6926}"/>
              </a:ext>
            </a:extLst>
          </p:cNvPr>
          <p:cNvSpPr/>
          <p:nvPr/>
        </p:nvSpPr>
        <p:spPr>
          <a:xfrm>
            <a:off x="1215772" y="3538071"/>
            <a:ext cx="545317" cy="59055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227</a:t>
            </a:r>
            <a:endParaRPr kumimoji="0" lang="en-IL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Left Brace 2">
            <a:extLst>
              <a:ext uri="{FF2B5EF4-FFF2-40B4-BE49-F238E27FC236}">
                <a16:creationId xmlns:a16="http://schemas.microsoft.com/office/drawing/2014/main" id="{15784682-2EE1-4468-B2A5-9DA56324787B}"/>
              </a:ext>
            </a:extLst>
          </p:cNvPr>
          <p:cNvSpPr/>
          <p:nvPr/>
        </p:nvSpPr>
        <p:spPr>
          <a:xfrm>
            <a:off x="1843626" y="3430121"/>
            <a:ext cx="139712" cy="800100"/>
          </a:xfrm>
          <a:prstGeom prst="leftBrac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" name="Rectangle 5">
            <a:extLst>
              <a:ext uri="{FF2B5EF4-FFF2-40B4-BE49-F238E27FC236}">
                <a16:creationId xmlns:a16="http://schemas.microsoft.com/office/drawing/2014/main" id="{47858D48-9CA4-4425-88EB-14AE647B0C01}"/>
              </a:ext>
            </a:extLst>
          </p:cNvPr>
          <p:cNvSpPr/>
          <p:nvPr/>
        </p:nvSpPr>
        <p:spPr>
          <a:xfrm>
            <a:off x="4393565" y="4606809"/>
            <a:ext cx="1208616" cy="37977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Gisha" panose="020B0502040204020203" pitchFamily="34" charset="-79"/>
                <a:ea typeface="+mn-ea"/>
                <a:cs typeface="Gisha" panose="020B0502040204020203" pitchFamily="34" charset="-79"/>
              </a:rPr>
              <a:t>בסוגריים: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Gisha" panose="020B0502040204020203" pitchFamily="34" charset="-79"/>
                <a:ea typeface="+mn-ea"/>
                <a:cs typeface="Gisha" panose="020B0502040204020203" pitchFamily="34" charset="-79"/>
              </a:rPr>
              <a:t/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Gisha" panose="020B0502040204020203" pitchFamily="34" charset="-79"/>
                <a:ea typeface="+mn-ea"/>
                <a:cs typeface="Gisha" panose="020B0502040204020203" pitchFamily="34" charset="-79"/>
              </a:rPr>
            </a:br>
            <a:r>
              <a:rPr kumimoji="0" lang="he-IL" sz="1200" b="0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Gisha" panose="020B0502040204020203" pitchFamily="34" charset="-79"/>
                <a:ea typeface="+mn-ea"/>
                <a:cs typeface="Gisha" panose="020B0502040204020203" pitchFamily="34" charset="-79"/>
              </a:rPr>
              <a:t>כולל מחלימים</a:t>
            </a:r>
            <a:endParaRPr kumimoji="0" lang="en-IL" sz="12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Gisha" panose="020B0502040204020203" pitchFamily="34" charset="-79"/>
              <a:ea typeface="+mn-ea"/>
              <a:cs typeface="Gisha" panose="020B0502040204020203" pitchFamily="34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657036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btm.png">
            <a:extLst>
              <a:ext uri="{FF2B5EF4-FFF2-40B4-BE49-F238E27FC236}">
                <a16:creationId xmlns:a16="http://schemas.microsoft.com/office/drawing/2014/main" id="{A9B8A228-212C-4042-9C3C-48EA9C58178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247" y="5212822"/>
            <a:ext cx="10945095" cy="115484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0351CCB-D444-4AEE-B3AF-931CBF96D274}"/>
              </a:ext>
            </a:extLst>
          </p:cNvPr>
          <p:cNvSpPr txBox="1">
            <a:spLocks/>
          </p:cNvSpPr>
          <p:nvPr/>
        </p:nvSpPr>
        <p:spPr>
          <a:xfrm>
            <a:off x="10564" y="-1424"/>
            <a:ext cx="11183234" cy="911930"/>
          </a:xfrm>
          <a:prstGeom prst="rect">
            <a:avLst/>
          </a:prstGeom>
        </p:spPr>
        <p:txBody>
          <a:bodyPr vert="horz" lIns="91409" tIns="45705" rIns="91409" bIns="45705" rtlCol="0" anchor="b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endParaRPr lang="he-IL" sz="3999" b="1" baseline="30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12" name="Picture 6" descr="strip1.jpg">
            <a:extLst>
              <a:ext uri="{FF2B5EF4-FFF2-40B4-BE49-F238E27FC236}">
                <a16:creationId xmlns:a16="http://schemas.microsoft.com/office/drawing/2014/main" id="{7EC3FE62-B06E-4837-A49B-523967B7F7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4" y="0"/>
            <a:ext cx="11518195" cy="93753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30351CCB-D444-4AEE-B3AF-931CBF96D274}"/>
              </a:ext>
            </a:extLst>
          </p:cNvPr>
          <p:cNvSpPr txBox="1">
            <a:spLocks/>
          </p:cNvSpPr>
          <p:nvPr/>
        </p:nvSpPr>
        <p:spPr>
          <a:xfrm>
            <a:off x="0" y="-27029"/>
            <a:ext cx="11183234" cy="911930"/>
          </a:xfrm>
          <a:prstGeom prst="rect">
            <a:avLst/>
          </a:prstGeom>
        </p:spPr>
        <p:txBody>
          <a:bodyPr vert="horz" lIns="91409" tIns="45705" rIns="91409" bIns="45705" rtlCol="0" anchor="b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r>
              <a:rPr lang="he-IL" sz="3999" b="1" baseline="3000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חיסונים – קצב התחסנות</a:t>
            </a:r>
            <a:endParaRPr lang="he-IL" sz="3999" b="1" baseline="30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673231" y="4049054"/>
            <a:ext cx="5946209" cy="352327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endParaRPr lang="he-IL" dirty="0"/>
          </a:p>
        </p:txBody>
      </p:sp>
      <p:sp>
        <p:nvSpPr>
          <p:cNvPr id="3" name="TextBox 2"/>
          <p:cNvSpPr txBox="1"/>
          <p:nvPr/>
        </p:nvSpPr>
        <p:spPr>
          <a:xfrm>
            <a:off x="4544905" y="4897316"/>
            <a:ext cx="6022731" cy="1007228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endParaRPr lang="he-IL" dirty="0"/>
          </a:p>
        </p:txBody>
      </p:sp>
      <p:sp>
        <p:nvSpPr>
          <p:cNvPr id="4" name="TextBox 3"/>
          <p:cNvSpPr txBox="1"/>
          <p:nvPr/>
        </p:nvSpPr>
        <p:spPr>
          <a:xfrm>
            <a:off x="3235569" y="3693283"/>
            <a:ext cx="6606770" cy="268362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endParaRPr lang="he-IL"/>
          </a:p>
        </p:txBody>
      </p:sp>
      <p:sp>
        <p:nvSpPr>
          <p:cNvPr id="5" name="TextBox 4"/>
          <p:cNvSpPr txBox="1"/>
          <p:nvPr/>
        </p:nvSpPr>
        <p:spPr>
          <a:xfrm>
            <a:off x="3407508" y="1328615"/>
            <a:ext cx="265723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endParaRPr lang="he-IL" dirty="0"/>
          </a:p>
        </p:txBody>
      </p:sp>
      <p:sp>
        <p:nvSpPr>
          <p:cNvPr id="10" name="TextBox 9"/>
          <p:cNvSpPr txBox="1"/>
          <p:nvPr/>
        </p:nvSpPr>
        <p:spPr>
          <a:xfrm>
            <a:off x="9688530" y="1551398"/>
            <a:ext cx="1248310" cy="144944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endParaRPr lang="he-IL" dirty="0"/>
          </a:p>
        </p:txBody>
      </p:sp>
    </p:spTree>
    <p:extLst>
      <p:ext uri="{BB962C8B-B14F-4D97-AF65-F5344CB8AC3E}">
        <p14:creationId xmlns:p14="http://schemas.microsoft.com/office/powerpoint/2010/main" val="3850469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btm.png">
            <a:extLst>
              <a:ext uri="{FF2B5EF4-FFF2-40B4-BE49-F238E27FC236}">
                <a16:creationId xmlns:a16="http://schemas.microsoft.com/office/drawing/2014/main" id="{A9B8A228-212C-4042-9C3C-48EA9C58178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247" y="5212822"/>
            <a:ext cx="10945095" cy="115484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0351CCB-D444-4AEE-B3AF-931CBF96D274}"/>
              </a:ext>
            </a:extLst>
          </p:cNvPr>
          <p:cNvSpPr txBox="1">
            <a:spLocks/>
          </p:cNvSpPr>
          <p:nvPr/>
        </p:nvSpPr>
        <p:spPr>
          <a:xfrm>
            <a:off x="10564" y="-1424"/>
            <a:ext cx="11183234" cy="911930"/>
          </a:xfrm>
          <a:prstGeom prst="rect">
            <a:avLst/>
          </a:prstGeom>
        </p:spPr>
        <p:txBody>
          <a:bodyPr vert="horz" lIns="91409" tIns="45705" rIns="91409" bIns="45705" rtlCol="0" anchor="b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endParaRPr lang="he-IL" sz="3999" b="1" baseline="30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12" name="Picture 6" descr="strip1.jpg">
            <a:extLst>
              <a:ext uri="{FF2B5EF4-FFF2-40B4-BE49-F238E27FC236}">
                <a16:creationId xmlns:a16="http://schemas.microsoft.com/office/drawing/2014/main" id="{7EC3FE62-B06E-4837-A49B-523967B7F7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4" y="0"/>
            <a:ext cx="11518195" cy="93753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30351CCB-D444-4AEE-B3AF-931CBF96D274}"/>
              </a:ext>
            </a:extLst>
          </p:cNvPr>
          <p:cNvSpPr txBox="1">
            <a:spLocks/>
          </p:cNvSpPr>
          <p:nvPr/>
        </p:nvSpPr>
        <p:spPr>
          <a:xfrm>
            <a:off x="0" y="-27029"/>
            <a:ext cx="11183234" cy="911930"/>
          </a:xfrm>
          <a:prstGeom prst="rect">
            <a:avLst/>
          </a:prstGeom>
        </p:spPr>
        <p:txBody>
          <a:bodyPr vert="horz" lIns="91409" tIns="45705" rIns="91409" bIns="45705" rtlCol="0" anchor="b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r>
              <a:rPr lang="he-IL" sz="3999" b="1" baseline="3000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חיסונים – מימוש פוטנציאל - גיל 50+</a:t>
            </a:r>
            <a:endParaRPr lang="he-IL" sz="3999" b="1" baseline="30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10" name="Picture 12">
            <a:extLst>
              <a:ext uri="{FF2B5EF4-FFF2-40B4-BE49-F238E27FC236}">
                <a16:creationId xmlns:a16="http://schemas.microsoft.com/office/drawing/2014/main" id="{0810FA59-23BC-41EA-93CE-BF8B346883C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96517" y="991456"/>
            <a:ext cx="8021384" cy="4910046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426333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btm.png">
            <a:extLst>
              <a:ext uri="{FF2B5EF4-FFF2-40B4-BE49-F238E27FC236}">
                <a16:creationId xmlns:a16="http://schemas.microsoft.com/office/drawing/2014/main" id="{A9B8A228-212C-4042-9C3C-48EA9C58178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247" y="5212822"/>
            <a:ext cx="10945095" cy="115484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0351CCB-D444-4AEE-B3AF-931CBF96D274}"/>
              </a:ext>
            </a:extLst>
          </p:cNvPr>
          <p:cNvSpPr txBox="1">
            <a:spLocks/>
          </p:cNvSpPr>
          <p:nvPr/>
        </p:nvSpPr>
        <p:spPr>
          <a:xfrm>
            <a:off x="10564" y="-1424"/>
            <a:ext cx="11183234" cy="911930"/>
          </a:xfrm>
          <a:prstGeom prst="rect">
            <a:avLst/>
          </a:prstGeom>
        </p:spPr>
        <p:txBody>
          <a:bodyPr vert="horz" lIns="91409" tIns="45705" rIns="91409" bIns="45705" rtlCol="0" anchor="b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endParaRPr lang="he-IL" sz="3999" b="1" baseline="30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12" name="Picture 6" descr="strip1.jpg">
            <a:extLst>
              <a:ext uri="{FF2B5EF4-FFF2-40B4-BE49-F238E27FC236}">
                <a16:creationId xmlns:a16="http://schemas.microsoft.com/office/drawing/2014/main" id="{7EC3FE62-B06E-4837-A49B-523967B7F7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4" y="0"/>
            <a:ext cx="11518195" cy="93753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30351CCB-D444-4AEE-B3AF-931CBF96D274}"/>
              </a:ext>
            </a:extLst>
          </p:cNvPr>
          <p:cNvSpPr txBox="1">
            <a:spLocks/>
          </p:cNvSpPr>
          <p:nvPr/>
        </p:nvSpPr>
        <p:spPr>
          <a:xfrm>
            <a:off x="0" y="-27029"/>
            <a:ext cx="11183234" cy="911930"/>
          </a:xfrm>
          <a:prstGeom prst="rect">
            <a:avLst/>
          </a:prstGeom>
        </p:spPr>
        <p:txBody>
          <a:bodyPr vert="horz" lIns="91409" tIns="45705" rIns="91409" bIns="45705" rtlCol="0" anchor="b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r>
              <a:rPr lang="he-IL" sz="3999" b="1" baseline="3000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תמונת מצב - מימוש פוטנציאל התחסנות – כלל האוכלוסייה</a:t>
            </a:r>
            <a:endParaRPr lang="he-IL" sz="3999" b="1" baseline="30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11" name="Picture 13">
            <a:extLst>
              <a:ext uri="{FF2B5EF4-FFF2-40B4-BE49-F238E27FC236}">
                <a16:creationId xmlns:a16="http://schemas.microsoft.com/office/drawing/2014/main" id="{64EF0691-C5B3-4AB2-89B9-BB90145E592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33148" y="980751"/>
            <a:ext cx="8109841" cy="496155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103992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btm.png">
            <a:extLst>
              <a:ext uri="{FF2B5EF4-FFF2-40B4-BE49-F238E27FC236}">
                <a16:creationId xmlns:a16="http://schemas.microsoft.com/office/drawing/2014/main" id="{A9B8A228-212C-4042-9C3C-48EA9C58178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247" y="5212822"/>
            <a:ext cx="10945095" cy="115484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0351CCB-D444-4AEE-B3AF-931CBF96D274}"/>
              </a:ext>
            </a:extLst>
          </p:cNvPr>
          <p:cNvSpPr txBox="1">
            <a:spLocks/>
          </p:cNvSpPr>
          <p:nvPr/>
        </p:nvSpPr>
        <p:spPr>
          <a:xfrm>
            <a:off x="10564" y="-1424"/>
            <a:ext cx="11183234" cy="911930"/>
          </a:xfrm>
          <a:prstGeom prst="rect">
            <a:avLst/>
          </a:prstGeom>
        </p:spPr>
        <p:txBody>
          <a:bodyPr vert="horz" lIns="91409" tIns="45705" rIns="91409" bIns="45705" rtlCol="0" anchor="b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endParaRPr lang="he-IL" sz="3999" b="1" baseline="30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12" name="Picture 6" descr="strip1.jpg">
            <a:extLst>
              <a:ext uri="{FF2B5EF4-FFF2-40B4-BE49-F238E27FC236}">
                <a16:creationId xmlns:a16="http://schemas.microsoft.com/office/drawing/2014/main" id="{7EC3FE62-B06E-4837-A49B-523967B7F7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4" y="0"/>
            <a:ext cx="11518195" cy="93753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30351CCB-D444-4AEE-B3AF-931CBF96D274}"/>
              </a:ext>
            </a:extLst>
          </p:cNvPr>
          <p:cNvSpPr txBox="1">
            <a:spLocks/>
          </p:cNvSpPr>
          <p:nvPr/>
        </p:nvSpPr>
        <p:spPr>
          <a:xfrm>
            <a:off x="0" y="-27029"/>
            <a:ext cx="11183234" cy="911930"/>
          </a:xfrm>
          <a:prstGeom prst="rect">
            <a:avLst/>
          </a:prstGeom>
        </p:spPr>
        <p:txBody>
          <a:bodyPr vert="horz" lIns="91409" tIns="45705" rIns="91409" bIns="45705" rtlCol="0" anchor="b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endParaRPr lang="he-IL" sz="3999" b="1" baseline="30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922955" y="2454031"/>
            <a:ext cx="5986584" cy="16312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5000" b="1" dirty="0" smtClean="0"/>
              <a:t>המלצות לפתיחת מערכת החינוך</a:t>
            </a:r>
            <a:endParaRPr lang="he-IL" sz="5000" b="1" dirty="0"/>
          </a:p>
        </p:txBody>
      </p:sp>
    </p:spTree>
    <p:extLst>
      <p:ext uri="{BB962C8B-B14F-4D97-AF65-F5344CB8AC3E}">
        <p14:creationId xmlns:p14="http://schemas.microsoft.com/office/powerpoint/2010/main" val="2086596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strip1.jpg">
            <a:extLst>
              <a:ext uri="{FF2B5EF4-FFF2-40B4-BE49-F238E27FC236}">
                <a16:creationId xmlns:a16="http://schemas.microsoft.com/office/drawing/2014/main" id="{7EC3FE62-B06E-4837-A49B-523967B7F7E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01" y="53576"/>
            <a:ext cx="11514317" cy="937219"/>
          </a:xfrm>
          <a:prstGeom prst="rect">
            <a:avLst/>
          </a:prstGeom>
        </p:spPr>
      </p:pic>
      <p:pic>
        <p:nvPicPr>
          <p:cNvPr id="7" name="Picture 4" descr="btm.png">
            <a:extLst>
              <a:ext uri="{FF2B5EF4-FFF2-40B4-BE49-F238E27FC236}">
                <a16:creationId xmlns:a16="http://schemas.microsoft.com/office/drawing/2014/main" id="{A9B8A228-212C-4042-9C3C-48EA9C58178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093" y="5212159"/>
            <a:ext cx="10941410" cy="1154453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0351CCB-D444-4AEE-B3AF-931CBF96D274}"/>
              </a:ext>
            </a:extLst>
          </p:cNvPr>
          <p:cNvSpPr txBox="1">
            <a:spLocks/>
          </p:cNvSpPr>
          <p:nvPr/>
        </p:nvSpPr>
        <p:spPr>
          <a:xfrm>
            <a:off x="12500" y="-331"/>
            <a:ext cx="11179469" cy="911623"/>
          </a:xfrm>
          <a:prstGeom prst="rect">
            <a:avLst/>
          </a:prstGeom>
        </p:spPr>
        <p:txBody>
          <a:bodyPr vert="horz" lIns="91378" tIns="45689" rIns="91378" bIns="45689" rtlCol="0" anchor="b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r>
              <a:rPr lang="he-IL" sz="3998" b="1" baseline="3000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תמונת מצב תחלואה – כיתות א'-ד'</a:t>
            </a:r>
            <a:endParaRPr lang="he-IL" sz="3998" b="1" baseline="30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4" name="תמונה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37022" y="1160200"/>
            <a:ext cx="9286802" cy="4527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997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strip1.jpg">
            <a:extLst>
              <a:ext uri="{FF2B5EF4-FFF2-40B4-BE49-F238E27FC236}">
                <a16:creationId xmlns:a16="http://schemas.microsoft.com/office/drawing/2014/main" id="{7EC3FE62-B06E-4837-A49B-523967B7F7E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01" y="53576"/>
            <a:ext cx="11514317" cy="937219"/>
          </a:xfrm>
          <a:prstGeom prst="rect">
            <a:avLst/>
          </a:prstGeom>
        </p:spPr>
      </p:pic>
      <p:pic>
        <p:nvPicPr>
          <p:cNvPr id="7" name="Picture 4" descr="btm.png">
            <a:extLst>
              <a:ext uri="{FF2B5EF4-FFF2-40B4-BE49-F238E27FC236}">
                <a16:creationId xmlns:a16="http://schemas.microsoft.com/office/drawing/2014/main" id="{A9B8A228-212C-4042-9C3C-48EA9C58178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093" y="5212159"/>
            <a:ext cx="10941410" cy="1154453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0351CCB-D444-4AEE-B3AF-931CBF96D274}"/>
              </a:ext>
            </a:extLst>
          </p:cNvPr>
          <p:cNvSpPr txBox="1">
            <a:spLocks/>
          </p:cNvSpPr>
          <p:nvPr/>
        </p:nvSpPr>
        <p:spPr>
          <a:xfrm>
            <a:off x="12500" y="-331"/>
            <a:ext cx="11179469" cy="911623"/>
          </a:xfrm>
          <a:prstGeom prst="rect">
            <a:avLst/>
          </a:prstGeom>
        </p:spPr>
        <p:txBody>
          <a:bodyPr vert="horz" lIns="91378" tIns="45689" rIns="91378" bIns="45689" rtlCol="0" anchor="b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r>
              <a:rPr lang="he-IL" sz="3998" b="1" baseline="3000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המלצות לפתיחת בתי הספר</a:t>
            </a:r>
            <a:endParaRPr lang="he-IL" sz="3998" b="1" baseline="30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915290" y="1421733"/>
            <a:ext cx="10441454" cy="336496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342900" indent="-342900" algn="r" rtl="1">
              <a:buFont typeface="Wingdings" panose="05000000000000000000" pitchFamily="2" charset="2"/>
              <a:buChar char="§"/>
            </a:pPr>
            <a:r>
              <a:rPr lang="he-IL" sz="2363" dirty="0">
                <a:latin typeface="Calibri" panose="020F0502020204030204" pitchFamily="34" charset="0"/>
                <a:cs typeface="Calibri" panose="020F0502020204030204" pitchFamily="34" charset="0"/>
              </a:rPr>
              <a:t>בתי הספר ייפתחו בכל השכבות ללא קפסולות לאחר יום העצמאות (יום ראשון 18.4).</a:t>
            </a:r>
          </a:p>
          <a:p>
            <a:pPr marL="342900" indent="-342900" algn="r" rtl="1">
              <a:buFont typeface="Wingdings" panose="05000000000000000000" pitchFamily="2" charset="2"/>
              <a:buChar char="§"/>
            </a:pPr>
            <a:endParaRPr lang="he-IL" sz="2363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r" rtl="1">
              <a:buFont typeface="Wingdings" panose="05000000000000000000" pitchFamily="2" charset="2"/>
              <a:buChar char="§"/>
            </a:pPr>
            <a:r>
              <a:rPr lang="he-IL" sz="2363" dirty="0">
                <a:latin typeface="Calibri" panose="020F0502020204030204" pitchFamily="34" charset="0"/>
                <a:cs typeface="Calibri" panose="020F0502020204030204" pitchFamily="34" charset="0"/>
              </a:rPr>
              <a:t>הפתיחה תעשה תחת הפעלת מודל התערבות מחמיר להתמודדות עם התפרצויות, המאפשר ניטור רחב ומניעת התפשטות. מודל זה יגובש על ידי משרד הבריאות, משרד החינוך ומרכז השלטון המקומי.</a:t>
            </a:r>
          </a:p>
          <a:p>
            <a:pPr marL="342900" indent="-342900" algn="r" rtl="1">
              <a:buFont typeface="Wingdings" panose="05000000000000000000" pitchFamily="2" charset="2"/>
              <a:buChar char="§"/>
            </a:pPr>
            <a:endParaRPr lang="he-IL" sz="2363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r" rtl="1">
              <a:buFont typeface="Wingdings" panose="05000000000000000000" pitchFamily="2" charset="2"/>
              <a:buChar char="§"/>
            </a:pPr>
            <a:r>
              <a:rPr lang="he-IL" sz="2363" dirty="0">
                <a:latin typeface="Calibri" panose="020F0502020204030204" pitchFamily="34" charset="0"/>
                <a:cs typeface="Calibri" panose="020F0502020204030204" pitchFamily="34" charset="0"/>
              </a:rPr>
              <a:t>בשלב זה מערכת החינוך הבלתי פורמאלית, החוגים וכן מערכת ההשכלה הגבוהה ימשיכו לפעול במתכונת הקיימת. המשך הקלות במסגרתם תיבחן בעוד שבועיים לאחר בחינת השפעת פתיחת בתי הספר.</a:t>
            </a:r>
          </a:p>
        </p:txBody>
      </p:sp>
    </p:spTree>
    <p:extLst>
      <p:ext uri="{BB962C8B-B14F-4D97-AF65-F5344CB8AC3E}">
        <p14:creationId xmlns:p14="http://schemas.microsoft.com/office/powerpoint/2010/main" val="4252120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btm.png">
            <a:extLst>
              <a:ext uri="{FF2B5EF4-FFF2-40B4-BE49-F238E27FC236}">
                <a16:creationId xmlns:a16="http://schemas.microsoft.com/office/drawing/2014/main" id="{A9B8A228-212C-4042-9C3C-48EA9C58178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247" y="5212822"/>
            <a:ext cx="10945095" cy="115484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0351CCB-D444-4AEE-B3AF-931CBF96D274}"/>
              </a:ext>
            </a:extLst>
          </p:cNvPr>
          <p:cNvSpPr txBox="1">
            <a:spLocks/>
          </p:cNvSpPr>
          <p:nvPr/>
        </p:nvSpPr>
        <p:spPr>
          <a:xfrm>
            <a:off x="10564" y="-1424"/>
            <a:ext cx="11183234" cy="911930"/>
          </a:xfrm>
          <a:prstGeom prst="rect">
            <a:avLst/>
          </a:prstGeom>
        </p:spPr>
        <p:txBody>
          <a:bodyPr vert="horz" lIns="91409" tIns="45705" rIns="91409" bIns="45705" rtlCol="0" anchor="b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endParaRPr lang="he-IL" sz="3999" b="1" baseline="30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12" name="Picture 6" descr="strip1.jpg">
            <a:extLst>
              <a:ext uri="{FF2B5EF4-FFF2-40B4-BE49-F238E27FC236}">
                <a16:creationId xmlns:a16="http://schemas.microsoft.com/office/drawing/2014/main" id="{7EC3FE62-B06E-4837-A49B-523967B7F7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4" y="0"/>
            <a:ext cx="11518195" cy="93753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30351CCB-D444-4AEE-B3AF-931CBF96D274}"/>
              </a:ext>
            </a:extLst>
          </p:cNvPr>
          <p:cNvSpPr txBox="1">
            <a:spLocks/>
          </p:cNvSpPr>
          <p:nvPr/>
        </p:nvSpPr>
        <p:spPr>
          <a:xfrm>
            <a:off x="0" y="-27029"/>
            <a:ext cx="11183234" cy="911930"/>
          </a:xfrm>
          <a:prstGeom prst="rect">
            <a:avLst/>
          </a:prstGeom>
        </p:spPr>
        <p:txBody>
          <a:bodyPr vert="horz" lIns="91409" tIns="45705" rIns="91409" bIns="45705" rtlCol="0" anchor="b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r>
              <a:rPr lang="he-IL" sz="3999" b="1" baseline="3000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תמונת מצב תחלואה</a:t>
            </a:r>
            <a:endParaRPr lang="he-IL" sz="3999" b="1" baseline="30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10" name="תמונה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65202" y="1620296"/>
            <a:ext cx="8066039" cy="4067631"/>
          </a:xfrm>
          <a:prstGeom prst="rect">
            <a:avLst/>
          </a:prstGeom>
        </p:spPr>
      </p:pic>
      <p:pic>
        <p:nvPicPr>
          <p:cNvPr id="11" name="תמונה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24719" y="2844189"/>
            <a:ext cx="3049690" cy="1658843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3484374" y="1166979"/>
            <a:ext cx="3427694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מאומתים – ממוצע נע שבועי</a:t>
            </a:r>
            <a:endParaRPr lang="he-IL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7600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btm.png">
            <a:extLst>
              <a:ext uri="{FF2B5EF4-FFF2-40B4-BE49-F238E27FC236}">
                <a16:creationId xmlns:a16="http://schemas.microsoft.com/office/drawing/2014/main" id="{A9B8A228-212C-4042-9C3C-48EA9C58178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247" y="5212822"/>
            <a:ext cx="10945095" cy="115484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0351CCB-D444-4AEE-B3AF-931CBF96D274}"/>
              </a:ext>
            </a:extLst>
          </p:cNvPr>
          <p:cNvSpPr txBox="1">
            <a:spLocks/>
          </p:cNvSpPr>
          <p:nvPr/>
        </p:nvSpPr>
        <p:spPr>
          <a:xfrm>
            <a:off x="10564" y="-1424"/>
            <a:ext cx="11183234" cy="911930"/>
          </a:xfrm>
          <a:prstGeom prst="rect">
            <a:avLst/>
          </a:prstGeom>
        </p:spPr>
        <p:txBody>
          <a:bodyPr vert="horz" lIns="91409" tIns="45705" rIns="91409" bIns="45705" rtlCol="0" anchor="b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endParaRPr lang="he-IL" sz="3999" b="1" baseline="30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12" name="Picture 6" descr="strip1.jpg">
            <a:extLst>
              <a:ext uri="{FF2B5EF4-FFF2-40B4-BE49-F238E27FC236}">
                <a16:creationId xmlns:a16="http://schemas.microsoft.com/office/drawing/2014/main" id="{7EC3FE62-B06E-4837-A49B-523967B7F7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4" y="0"/>
            <a:ext cx="11518195" cy="93753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30351CCB-D444-4AEE-B3AF-931CBF96D274}"/>
              </a:ext>
            </a:extLst>
          </p:cNvPr>
          <p:cNvSpPr txBox="1">
            <a:spLocks/>
          </p:cNvSpPr>
          <p:nvPr/>
        </p:nvSpPr>
        <p:spPr>
          <a:xfrm>
            <a:off x="0" y="-27029"/>
            <a:ext cx="11183234" cy="911930"/>
          </a:xfrm>
          <a:prstGeom prst="rect">
            <a:avLst/>
          </a:prstGeom>
        </p:spPr>
        <p:txBody>
          <a:bodyPr vert="horz" lIns="91409" tIns="45705" rIns="91409" bIns="45705" rtlCol="0" anchor="b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r>
              <a:rPr lang="he-IL" sz="3999" b="1" baseline="3000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תמונת מצב תחלואה</a:t>
            </a:r>
            <a:endParaRPr lang="he-IL" sz="3999" b="1" baseline="30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2" name="תמונה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90" y="1228271"/>
            <a:ext cx="5756078" cy="3376053"/>
          </a:xfrm>
          <a:prstGeom prst="rect">
            <a:avLst/>
          </a:prstGeom>
        </p:spPr>
      </p:pic>
      <p:pic>
        <p:nvPicPr>
          <p:cNvPr id="3" name="תמונה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7268" y="1201242"/>
            <a:ext cx="5623619" cy="3447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673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btm.png">
            <a:extLst>
              <a:ext uri="{FF2B5EF4-FFF2-40B4-BE49-F238E27FC236}">
                <a16:creationId xmlns:a16="http://schemas.microsoft.com/office/drawing/2014/main" id="{A9B8A228-212C-4042-9C3C-48EA9C58178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247" y="5212822"/>
            <a:ext cx="10945095" cy="115484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0351CCB-D444-4AEE-B3AF-931CBF96D274}"/>
              </a:ext>
            </a:extLst>
          </p:cNvPr>
          <p:cNvSpPr txBox="1">
            <a:spLocks/>
          </p:cNvSpPr>
          <p:nvPr/>
        </p:nvSpPr>
        <p:spPr>
          <a:xfrm>
            <a:off x="10564" y="-1424"/>
            <a:ext cx="11183234" cy="911930"/>
          </a:xfrm>
          <a:prstGeom prst="rect">
            <a:avLst/>
          </a:prstGeom>
        </p:spPr>
        <p:txBody>
          <a:bodyPr vert="horz" lIns="91409" tIns="45705" rIns="91409" bIns="45705" rtlCol="0" anchor="b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endParaRPr lang="he-IL" sz="3999" b="1" baseline="30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12" name="Picture 6" descr="strip1.jpg">
            <a:extLst>
              <a:ext uri="{FF2B5EF4-FFF2-40B4-BE49-F238E27FC236}">
                <a16:creationId xmlns:a16="http://schemas.microsoft.com/office/drawing/2014/main" id="{7EC3FE62-B06E-4837-A49B-523967B7F7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4" y="0"/>
            <a:ext cx="11518195" cy="93753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30351CCB-D444-4AEE-B3AF-931CBF96D274}"/>
              </a:ext>
            </a:extLst>
          </p:cNvPr>
          <p:cNvSpPr txBox="1">
            <a:spLocks/>
          </p:cNvSpPr>
          <p:nvPr/>
        </p:nvSpPr>
        <p:spPr>
          <a:xfrm>
            <a:off x="0" y="-27029"/>
            <a:ext cx="11183234" cy="911930"/>
          </a:xfrm>
          <a:prstGeom prst="rect">
            <a:avLst/>
          </a:prstGeom>
        </p:spPr>
        <p:txBody>
          <a:bodyPr vert="horz" lIns="91409" tIns="45705" rIns="91409" bIns="45705" rtlCol="0" anchor="b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r>
              <a:rPr lang="he-IL" sz="3999" b="1" baseline="3000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תמונת מצב תחלואה – אחוז חיוביים ומספר בדיקות</a:t>
            </a:r>
            <a:endParaRPr lang="he-IL" sz="3999" b="1" baseline="30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10" name="תמונה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69710" y="1004709"/>
            <a:ext cx="9431384" cy="4916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351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btm.png">
            <a:extLst>
              <a:ext uri="{FF2B5EF4-FFF2-40B4-BE49-F238E27FC236}">
                <a16:creationId xmlns:a16="http://schemas.microsoft.com/office/drawing/2014/main" id="{A9B8A228-212C-4042-9C3C-48EA9C58178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247" y="5212822"/>
            <a:ext cx="10945095" cy="115484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0351CCB-D444-4AEE-B3AF-931CBF96D274}"/>
              </a:ext>
            </a:extLst>
          </p:cNvPr>
          <p:cNvSpPr txBox="1">
            <a:spLocks/>
          </p:cNvSpPr>
          <p:nvPr/>
        </p:nvSpPr>
        <p:spPr>
          <a:xfrm>
            <a:off x="10564" y="-1424"/>
            <a:ext cx="11183234" cy="911930"/>
          </a:xfrm>
          <a:prstGeom prst="rect">
            <a:avLst/>
          </a:prstGeom>
        </p:spPr>
        <p:txBody>
          <a:bodyPr vert="horz" lIns="91409" tIns="45705" rIns="91409" bIns="45705" rtlCol="0" anchor="b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endParaRPr lang="he-IL" sz="3999" b="1" baseline="30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12" name="Picture 6" descr="strip1.jpg">
            <a:extLst>
              <a:ext uri="{FF2B5EF4-FFF2-40B4-BE49-F238E27FC236}">
                <a16:creationId xmlns:a16="http://schemas.microsoft.com/office/drawing/2014/main" id="{7EC3FE62-B06E-4837-A49B-523967B7F7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4" y="0"/>
            <a:ext cx="11518195" cy="93753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30351CCB-D444-4AEE-B3AF-931CBF96D274}"/>
              </a:ext>
            </a:extLst>
          </p:cNvPr>
          <p:cNvSpPr txBox="1">
            <a:spLocks/>
          </p:cNvSpPr>
          <p:nvPr/>
        </p:nvSpPr>
        <p:spPr>
          <a:xfrm>
            <a:off x="0" y="-27029"/>
            <a:ext cx="11183234" cy="911930"/>
          </a:xfrm>
          <a:prstGeom prst="rect">
            <a:avLst/>
          </a:prstGeom>
        </p:spPr>
        <p:txBody>
          <a:bodyPr vert="horz" lIns="91409" tIns="45705" rIns="91409" bIns="45705" rtlCol="0" anchor="b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r>
              <a:rPr lang="he-IL" sz="3999" b="1" baseline="3000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תמונת מצב מקדם ההדבקה</a:t>
            </a:r>
            <a:endParaRPr lang="he-IL" sz="3999" b="1" baseline="30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10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8497" y="1060854"/>
            <a:ext cx="7387388" cy="4663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1268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btm.png">
            <a:extLst>
              <a:ext uri="{FF2B5EF4-FFF2-40B4-BE49-F238E27FC236}">
                <a16:creationId xmlns:a16="http://schemas.microsoft.com/office/drawing/2014/main" id="{A9B8A228-212C-4042-9C3C-48EA9C58178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247" y="5212822"/>
            <a:ext cx="10945095" cy="115484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0351CCB-D444-4AEE-B3AF-931CBF96D274}"/>
              </a:ext>
            </a:extLst>
          </p:cNvPr>
          <p:cNvSpPr txBox="1">
            <a:spLocks/>
          </p:cNvSpPr>
          <p:nvPr/>
        </p:nvSpPr>
        <p:spPr>
          <a:xfrm>
            <a:off x="10564" y="-1424"/>
            <a:ext cx="11183234" cy="911930"/>
          </a:xfrm>
          <a:prstGeom prst="rect">
            <a:avLst/>
          </a:prstGeom>
        </p:spPr>
        <p:txBody>
          <a:bodyPr vert="horz" lIns="91409" tIns="45705" rIns="91409" bIns="45705" rtlCol="0" anchor="b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endParaRPr lang="he-IL" sz="3999" b="1" baseline="30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12" name="Picture 6" descr="strip1.jpg">
            <a:extLst>
              <a:ext uri="{FF2B5EF4-FFF2-40B4-BE49-F238E27FC236}">
                <a16:creationId xmlns:a16="http://schemas.microsoft.com/office/drawing/2014/main" id="{7EC3FE62-B06E-4837-A49B-523967B7F7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4" y="0"/>
            <a:ext cx="11518195" cy="93753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30351CCB-D444-4AEE-B3AF-931CBF96D274}"/>
              </a:ext>
            </a:extLst>
          </p:cNvPr>
          <p:cNvSpPr txBox="1">
            <a:spLocks/>
          </p:cNvSpPr>
          <p:nvPr/>
        </p:nvSpPr>
        <p:spPr>
          <a:xfrm>
            <a:off x="0" y="-27029"/>
            <a:ext cx="11183234" cy="911930"/>
          </a:xfrm>
          <a:prstGeom prst="rect">
            <a:avLst/>
          </a:prstGeom>
        </p:spPr>
        <p:txBody>
          <a:bodyPr vert="horz" lIns="91409" tIns="45705" rIns="91409" bIns="45705" rtlCol="0" anchor="b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r>
              <a:rPr lang="he-IL" sz="3999" b="1" baseline="3000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תמונת מצב תחלואה בחתך מגזרי</a:t>
            </a:r>
            <a:endParaRPr lang="he-IL" sz="3999" b="1" baseline="30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2" name="תמונה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8757" y="1081070"/>
            <a:ext cx="7383194" cy="4569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591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btm.png">
            <a:extLst>
              <a:ext uri="{FF2B5EF4-FFF2-40B4-BE49-F238E27FC236}">
                <a16:creationId xmlns:a16="http://schemas.microsoft.com/office/drawing/2014/main" id="{A9B8A228-212C-4042-9C3C-48EA9C58178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247" y="5212822"/>
            <a:ext cx="10945095" cy="115484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0351CCB-D444-4AEE-B3AF-931CBF96D274}"/>
              </a:ext>
            </a:extLst>
          </p:cNvPr>
          <p:cNvSpPr txBox="1">
            <a:spLocks/>
          </p:cNvSpPr>
          <p:nvPr/>
        </p:nvSpPr>
        <p:spPr>
          <a:xfrm>
            <a:off x="10564" y="-1424"/>
            <a:ext cx="11183234" cy="911930"/>
          </a:xfrm>
          <a:prstGeom prst="rect">
            <a:avLst/>
          </a:prstGeom>
        </p:spPr>
        <p:txBody>
          <a:bodyPr vert="horz" lIns="91409" tIns="45705" rIns="91409" bIns="45705" rtlCol="0" anchor="b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endParaRPr lang="he-IL" sz="3999" b="1" baseline="30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12" name="Picture 6" descr="strip1.jpg">
            <a:extLst>
              <a:ext uri="{FF2B5EF4-FFF2-40B4-BE49-F238E27FC236}">
                <a16:creationId xmlns:a16="http://schemas.microsoft.com/office/drawing/2014/main" id="{7EC3FE62-B06E-4837-A49B-523967B7F7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4" y="0"/>
            <a:ext cx="11518195" cy="93753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30351CCB-D444-4AEE-B3AF-931CBF96D274}"/>
              </a:ext>
            </a:extLst>
          </p:cNvPr>
          <p:cNvSpPr txBox="1">
            <a:spLocks/>
          </p:cNvSpPr>
          <p:nvPr/>
        </p:nvSpPr>
        <p:spPr>
          <a:xfrm>
            <a:off x="0" y="-27029"/>
            <a:ext cx="11183234" cy="911930"/>
          </a:xfrm>
          <a:prstGeom prst="rect">
            <a:avLst/>
          </a:prstGeom>
        </p:spPr>
        <p:txBody>
          <a:bodyPr vert="horz" lIns="91409" tIns="45705" rIns="91409" bIns="45705" rtlCol="0" anchor="b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r>
              <a:rPr lang="he-IL" sz="3999" b="1" baseline="3000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תמונת מצב – תחלואה בערים</a:t>
            </a:r>
            <a:endParaRPr lang="he-IL" sz="3999" b="1" baseline="30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5" name="Rectangle 18">
            <a:extLst>
              <a:ext uri="{FF2B5EF4-FFF2-40B4-BE49-F238E27FC236}">
                <a16:creationId xmlns:a16="http://schemas.microsoft.com/office/drawing/2014/main" id="{A20DBFCC-3809-4B38-9E50-AE7896A4AEFF}"/>
              </a:ext>
            </a:extLst>
          </p:cNvPr>
          <p:cNvSpPr/>
          <p:nvPr/>
        </p:nvSpPr>
        <p:spPr>
          <a:xfrm>
            <a:off x="3710272" y="1186516"/>
            <a:ext cx="3862867" cy="254138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אחוז מכלל </a:t>
            </a:r>
            <a:r>
              <a:rPr kumimoji="0" lang="he-IL" sz="1600" b="0" i="0" u="sng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האוכלוסייה</a:t>
            </a:r>
            <a:r>
              <a:rPr kumimoji="0" lang="he-IL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– לפי צבע</a:t>
            </a:r>
            <a:endParaRPr kumimoji="0" lang="en-IL" sz="1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id="{7B90E213-61CE-40EF-9771-EC757433A32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07239" y="1587483"/>
            <a:ext cx="6046342" cy="398204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4111876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btm.png">
            <a:extLst>
              <a:ext uri="{FF2B5EF4-FFF2-40B4-BE49-F238E27FC236}">
                <a16:creationId xmlns:a16="http://schemas.microsoft.com/office/drawing/2014/main" id="{A9B8A228-212C-4042-9C3C-48EA9C58178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247" y="5212822"/>
            <a:ext cx="10945095" cy="115484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0351CCB-D444-4AEE-B3AF-931CBF96D274}"/>
              </a:ext>
            </a:extLst>
          </p:cNvPr>
          <p:cNvSpPr txBox="1">
            <a:spLocks/>
          </p:cNvSpPr>
          <p:nvPr/>
        </p:nvSpPr>
        <p:spPr>
          <a:xfrm>
            <a:off x="10564" y="-1424"/>
            <a:ext cx="11183234" cy="911930"/>
          </a:xfrm>
          <a:prstGeom prst="rect">
            <a:avLst/>
          </a:prstGeom>
        </p:spPr>
        <p:txBody>
          <a:bodyPr vert="horz" lIns="91409" tIns="45705" rIns="91409" bIns="45705" rtlCol="0" anchor="b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endParaRPr lang="he-IL" sz="3999" b="1" baseline="30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12" name="Picture 6" descr="strip1.jpg">
            <a:extLst>
              <a:ext uri="{FF2B5EF4-FFF2-40B4-BE49-F238E27FC236}">
                <a16:creationId xmlns:a16="http://schemas.microsoft.com/office/drawing/2014/main" id="{7EC3FE62-B06E-4837-A49B-523967B7F7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4" y="0"/>
            <a:ext cx="11518195" cy="93753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30351CCB-D444-4AEE-B3AF-931CBF96D274}"/>
              </a:ext>
            </a:extLst>
          </p:cNvPr>
          <p:cNvSpPr txBox="1">
            <a:spLocks/>
          </p:cNvSpPr>
          <p:nvPr/>
        </p:nvSpPr>
        <p:spPr>
          <a:xfrm>
            <a:off x="0" y="-27029"/>
            <a:ext cx="11183234" cy="911930"/>
          </a:xfrm>
          <a:prstGeom prst="rect">
            <a:avLst/>
          </a:prstGeom>
        </p:spPr>
        <p:txBody>
          <a:bodyPr vert="horz" lIns="91409" tIns="45705" rIns="91409" bIns="45705" rtlCol="0" anchor="b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r>
              <a:rPr lang="he-IL" sz="3999" b="1" baseline="3000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תמונת מצב תחלואה קשה</a:t>
            </a:r>
            <a:endParaRPr lang="he-IL" sz="3999" b="1" baseline="30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2" name="תמונה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630" y="910506"/>
            <a:ext cx="7810327" cy="4930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223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4" descr="btm.png">
            <a:extLst>
              <a:ext uri="{FF2B5EF4-FFF2-40B4-BE49-F238E27FC236}">
                <a16:creationId xmlns:a16="http://schemas.microsoft.com/office/drawing/2014/main" id="{A9B8A228-212C-4042-9C3C-48EA9C58178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247" y="5212822"/>
            <a:ext cx="10945095" cy="1154842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30351CCB-D444-4AEE-B3AF-931CBF96D274}"/>
              </a:ext>
            </a:extLst>
          </p:cNvPr>
          <p:cNvSpPr txBox="1">
            <a:spLocks/>
          </p:cNvSpPr>
          <p:nvPr/>
        </p:nvSpPr>
        <p:spPr>
          <a:xfrm>
            <a:off x="10564" y="-1424"/>
            <a:ext cx="11183234" cy="911930"/>
          </a:xfrm>
          <a:prstGeom prst="rect">
            <a:avLst/>
          </a:prstGeom>
        </p:spPr>
        <p:txBody>
          <a:bodyPr vert="horz" lIns="91409" tIns="45705" rIns="91409" bIns="45705" rtlCol="0" anchor="b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endParaRPr lang="he-IL" sz="3999" b="1" baseline="30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12" name="Picture 6" descr="strip1.jpg">
            <a:extLst>
              <a:ext uri="{FF2B5EF4-FFF2-40B4-BE49-F238E27FC236}">
                <a16:creationId xmlns:a16="http://schemas.microsoft.com/office/drawing/2014/main" id="{7EC3FE62-B06E-4837-A49B-523967B7F7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4" y="0"/>
            <a:ext cx="11518195" cy="93753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30351CCB-D444-4AEE-B3AF-931CBF96D274}"/>
              </a:ext>
            </a:extLst>
          </p:cNvPr>
          <p:cNvSpPr txBox="1">
            <a:spLocks/>
          </p:cNvSpPr>
          <p:nvPr/>
        </p:nvSpPr>
        <p:spPr>
          <a:xfrm>
            <a:off x="0" y="-27029"/>
            <a:ext cx="11183234" cy="911930"/>
          </a:xfrm>
          <a:prstGeom prst="rect">
            <a:avLst/>
          </a:prstGeom>
        </p:spPr>
        <p:txBody>
          <a:bodyPr vert="horz" lIns="91409" tIns="45705" rIns="91409" bIns="45705" rtlCol="0" anchor="b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r>
              <a:rPr lang="he-IL" sz="3999" b="1" baseline="3000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חולים קשים חדשים</a:t>
            </a:r>
            <a:endParaRPr lang="he-IL" sz="3999" b="1" baseline="300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046342" y="1407563"/>
            <a:ext cx="195209" cy="986320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endParaRPr lang="he-IL" dirty="0"/>
          </a:p>
        </p:txBody>
      </p:sp>
      <p:sp>
        <p:nvSpPr>
          <p:cNvPr id="5" name="TextBox 4"/>
          <p:cNvSpPr txBox="1"/>
          <p:nvPr/>
        </p:nvSpPr>
        <p:spPr>
          <a:xfrm>
            <a:off x="11342670" y="1458934"/>
            <a:ext cx="102742" cy="2152436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endParaRPr lang="he-IL" dirty="0"/>
          </a:p>
        </p:txBody>
      </p:sp>
      <p:pic>
        <p:nvPicPr>
          <p:cNvPr id="6" name="תמונה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077" y="1724304"/>
            <a:ext cx="10790594" cy="3179034"/>
          </a:xfrm>
          <a:prstGeom prst="rect">
            <a:avLst/>
          </a:prstGeom>
        </p:spPr>
      </p:pic>
      <p:sp>
        <p:nvSpPr>
          <p:cNvPr id="10" name="מלבן 9"/>
          <p:cNvSpPr/>
          <p:nvPr/>
        </p:nvSpPr>
        <p:spPr>
          <a:xfrm>
            <a:off x="5671335" y="1724304"/>
            <a:ext cx="426377" cy="114774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4" name="מלבן 13"/>
          <p:cNvSpPr/>
          <p:nvPr/>
        </p:nvSpPr>
        <p:spPr>
          <a:xfrm>
            <a:off x="529121" y="1544506"/>
            <a:ext cx="426377" cy="505192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5" name="מלבן 14"/>
          <p:cNvSpPr/>
          <p:nvPr/>
        </p:nvSpPr>
        <p:spPr>
          <a:xfrm>
            <a:off x="6794645" y="1609446"/>
            <a:ext cx="426377" cy="45926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6" name="מלבן 15"/>
          <p:cNvSpPr/>
          <p:nvPr/>
        </p:nvSpPr>
        <p:spPr>
          <a:xfrm>
            <a:off x="10939250" y="1560417"/>
            <a:ext cx="426377" cy="505192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8" name="מלבן 17"/>
          <p:cNvSpPr/>
          <p:nvPr/>
        </p:nvSpPr>
        <p:spPr>
          <a:xfrm>
            <a:off x="304455" y="1706635"/>
            <a:ext cx="426377" cy="505192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9" name="מלבן 18"/>
          <p:cNvSpPr/>
          <p:nvPr/>
        </p:nvSpPr>
        <p:spPr>
          <a:xfrm>
            <a:off x="11183234" y="1916774"/>
            <a:ext cx="221590" cy="402937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0" name="TextBox 19"/>
          <p:cNvSpPr txBox="1"/>
          <p:nvPr/>
        </p:nvSpPr>
        <p:spPr>
          <a:xfrm>
            <a:off x="4430099" y="1130212"/>
            <a:ext cx="3427694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קשים חדשים – לפי רמות חיסון</a:t>
            </a:r>
            <a:endParaRPr lang="he-IL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1" name="תמונה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1507" y="5155774"/>
            <a:ext cx="3749670" cy="343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395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SXqhsi6CsYBF1JjwwA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7E1J8FInsgKQIDnqkXI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YsxJZB9t7evJahMUr7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YQA.oqKtkAiqI17OuD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f8D3O.BDNpOSk95ptBU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ערכת נושא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0946</TotalTime>
  <Words>321</Words>
  <Application>Microsoft Office PowerPoint</Application>
  <PresentationFormat>מותאם אישית</PresentationFormat>
  <Paragraphs>99</Paragraphs>
  <Slides>18</Slides>
  <Notes>0</Notes>
  <HiddenSlides>0</HiddenSlides>
  <MMClips>0</MMClips>
  <ScaleCrop>false</ScaleCrop>
  <HeadingPairs>
    <vt:vector size="6" baseType="variant">
      <vt:variant>
        <vt:lpstr>גופנים בשימוש</vt:lpstr>
      </vt:variant>
      <vt:variant>
        <vt:i4>6</vt:i4>
      </vt:variant>
      <vt:variant>
        <vt:lpstr>ערכת נושא</vt:lpstr>
      </vt:variant>
      <vt:variant>
        <vt:i4>1</vt:i4>
      </vt:variant>
      <vt:variant>
        <vt:lpstr>כותרות שקופיות</vt:lpstr>
      </vt:variant>
      <vt:variant>
        <vt:i4>18</vt:i4>
      </vt:variant>
    </vt:vector>
  </HeadingPairs>
  <TitlesOfParts>
    <vt:vector size="25" baseType="lpstr">
      <vt:lpstr>Arial</vt:lpstr>
      <vt:lpstr>Calibri</vt:lpstr>
      <vt:lpstr>Gisha</vt:lpstr>
      <vt:lpstr>Segoe UI</vt:lpstr>
      <vt:lpstr>Segoe UI Semibold</vt:lpstr>
      <vt:lpstr>Wingdings</vt:lpstr>
      <vt:lpstr>Office Theme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  <vt:lpstr>מצגת של PowerPoint‏</vt:lpstr>
    </vt:vector>
  </TitlesOfParts>
  <Company>ב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ב ב</dc:creator>
  <cp:lastModifiedBy>תומר לוטן</cp:lastModifiedBy>
  <cp:revision>920</cp:revision>
  <cp:lastPrinted>2020-12-23T11:04:00Z</cp:lastPrinted>
  <dcterms:created xsi:type="dcterms:W3CDTF">2020-07-30T11:14:56Z</dcterms:created>
  <dcterms:modified xsi:type="dcterms:W3CDTF">2021-04-12T18:08:51Z</dcterms:modified>
</cp:coreProperties>
</file>